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6" r:id="rId2"/>
    <p:sldMasterId id="2147483664" r:id="rId3"/>
    <p:sldMasterId id="2147483672" r:id="rId4"/>
    <p:sldMasterId id="2147483680" r:id="rId5"/>
    <p:sldMasterId id="2147483688" r:id="rId6"/>
  </p:sldMasterIdLst>
  <p:notesMasterIdLst>
    <p:notesMasterId r:id="rId36"/>
  </p:notesMasterIdLst>
  <p:handoutMasterIdLst>
    <p:handoutMasterId r:id="rId37"/>
  </p:handoutMasterIdLst>
  <p:sldIdLst>
    <p:sldId id="1858" r:id="rId7"/>
    <p:sldId id="1859" r:id="rId8"/>
    <p:sldId id="1860" r:id="rId9"/>
    <p:sldId id="1911" r:id="rId10"/>
    <p:sldId id="1885" r:id="rId11"/>
    <p:sldId id="1886" r:id="rId12"/>
    <p:sldId id="1861" r:id="rId13"/>
    <p:sldId id="1862" r:id="rId14"/>
    <p:sldId id="1863" r:id="rId15"/>
    <p:sldId id="1864" r:id="rId16"/>
    <p:sldId id="1865" r:id="rId17"/>
    <p:sldId id="1866" r:id="rId18"/>
    <p:sldId id="1867" r:id="rId19"/>
    <p:sldId id="1868" r:id="rId20"/>
    <p:sldId id="1869" r:id="rId21"/>
    <p:sldId id="1870" r:id="rId22"/>
    <p:sldId id="1871" r:id="rId23"/>
    <p:sldId id="1872" r:id="rId24"/>
    <p:sldId id="1873" r:id="rId25"/>
    <p:sldId id="1874" r:id="rId26"/>
    <p:sldId id="1875" r:id="rId27"/>
    <p:sldId id="1876" r:id="rId28"/>
    <p:sldId id="1877" r:id="rId29"/>
    <p:sldId id="1879" r:id="rId30"/>
    <p:sldId id="1880" r:id="rId31"/>
    <p:sldId id="1881" r:id="rId32"/>
    <p:sldId id="1882" r:id="rId33"/>
    <p:sldId id="1884" r:id="rId34"/>
    <p:sldId id="1910" r:id="rId35"/>
  </p:sldIdLst>
  <p:sldSz cx="12192000" cy="6858000"/>
  <p:notesSz cx="6858000" cy="9144000"/>
  <p:custDataLst>
    <p:tags r:id="rId3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5B93"/>
    <a:srgbClr val="2C7AC4"/>
    <a:srgbClr val="FEDB35"/>
    <a:srgbClr val="E50012"/>
    <a:srgbClr val="ECEFF4"/>
    <a:srgbClr val="2B2F3B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182" autoAdjust="0"/>
  </p:normalViewPr>
  <p:slideViewPr>
    <p:cSldViewPr snapToGrid="0">
      <p:cViewPr varScale="1">
        <p:scale>
          <a:sx n="153" d="100"/>
          <a:sy n="153" d="100"/>
        </p:scale>
        <p:origin x="624" y="132"/>
      </p:cViewPr>
      <p:guideLst/>
    </p:cSldViewPr>
  </p:slideViewPr>
  <p:notesTextViewPr>
    <p:cViewPr>
      <p:scale>
        <a:sx n="3" d="2"/>
        <a:sy n="3" d="2"/>
      </p:scale>
      <p:origin x="0" y="-486"/>
    </p:cViewPr>
  </p:notesTextViewPr>
  <p:sorterViewPr>
    <p:cViewPr>
      <p:scale>
        <a:sx n="66" d="100"/>
        <a:sy n="66" d="100"/>
      </p:scale>
      <p:origin x="0" y="-366"/>
    </p:cViewPr>
  </p:sorterViewPr>
  <p:notesViewPr>
    <p:cSldViewPr snapToGrid="0">
      <p:cViewPr varScale="1">
        <p:scale>
          <a:sx n="120" d="100"/>
          <a:sy n="120" d="100"/>
        </p:scale>
        <p:origin x="5040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Iris </a:t>
            </a:r>
            <a:r>
              <a:rPr lang="zh-CN" altLang="en-US" dirty="0"/>
              <a:t>虹膜</a:t>
            </a:r>
            <a:endParaRPr lang="en-US" altLang="zh-CN" dirty="0"/>
          </a:p>
          <a:p>
            <a:r>
              <a:rPr lang="en-US" altLang="zh-CN" dirty="0" err="1"/>
              <a:t>Fingerprintt</a:t>
            </a:r>
            <a:r>
              <a:rPr lang="en-US" altLang="zh-CN" dirty="0"/>
              <a:t> </a:t>
            </a:r>
            <a:r>
              <a:rPr lang="zh-CN" altLang="en-US" dirty="0"/>
              <a:t>指纹</a:t>
            </a:r>
            <a:endParaRPr lang="en-US" altLang="zh-CN" dirty="0"/>
          </a:p>
          <a:p>
            <a:r>
              <a:rPr lang="en-US" altLang="zh-CN" dirty="0"/>
              <a:t>Face </a:t>
            </a:r>
            <a:r>
              <a:rPr lang="zh-CN" altLang="en-US" dirty="0"/>
              <a:t>脸部</a:t>
            </a:r>
            <a:endParaRPr lang="en-US" altLang="zh-CN" dirty="0"/>
          </a:p>
          <a:p>
            <a:r>
              <a:rPr lang="en-US" altLang="zh-CN" dirty="0"/>
              <a:t>Gait </a:t>
            </a:r>
            <a:r>
              <a:rPr lang="zh-CN" altLang="en-US" dirty="0"/>
              <a:t>步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71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pic>
        <p:nvPicPr>
          <p:cNvPr id="4" name="图片 3" descr="珠澳学姐红色头像 横版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>
            <a:alphaModFix amt="20000"/>
          </a:blip>
          <a:stretch>
            <a:fillRect/>
          </a:stretch>
        </p:blipFill>
        <p:spPr>
          <a:xfrm>
            <a:off x="11459845" y="0"/>
            <a:ext cx="673735" cy="448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pic>
        <p:nvPicPr>
          <p:cNvPr id="4" name="图片 3" descr="珠澳学姐红色头像 横版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>
            <a:alphaModFix amt="20000"/>
          </a:blip>
          <a:stretch>
            <a:fillRect/>
          </a:stretch>
        </p:blipFill>
        <p:spPr>
          <a:xfrm>
            <a:off x="11459845" y="0"/>
            <a:ext cx="673735" cy="448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pic>
        <p:nvPicPr>
          <p:cNvPr id="4" name="图片 3" descr="珠澳学姐红色头像 横版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>
            <a:alphaModFix amt="20000"/>
          </a:blip>
          <a:stretch>
            <a:fillRect/>
          </a:stretch>
        </p:blipFill>
        <p:spPr>
          <a:xfrm>
            <a:off x="11459845" y="0"/>
            <a:ext cx="673735" cy="448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pic>
        <p:nvPicPr>
          <p:cNvPr id="4" name="图片 3" descr="珠澳学姐红色头像 横版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>
            <a:alphaModFix amt="20000"/>
          </a:blip>
          <a:stretch>
            <a:fillRect/>
          </a:stretch>
        </p:blipFill>
        <p:spPr>
          <a:xfrm>
            <a:off x="11459845" y="0"/>
            <a:ext cx="673735" cy="448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pic>
        <p:nvPicPr>
          <p:cNvPr id="4" name="图片 3" descr="珠澳学姐红色头像 横版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>
            <a:alphaModFix amt="20000"/>
          </a:blip>
          <a:stretch>
            <a:fillRect/>
          </a:stretch>
        </p:blipFill>
        <p:spPr>
          <a:xfrm>
            <a:off x="11459845" y="0"/>
            <a:ext cx="673735" cy="448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  <a:t>2024/11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 descr="珠澳学姐红色头像 横版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4">
            <a:alphaModFix amt="20000"/>
          </a:blip>
          <a:stretch>
            <a:fillRect/>
          </a:stretch>
        </p:blipFill>
        <p:spPr>
          <a:xfrm>
            <a:off x="11459845" y="0"/>
            <a:ext cx="673735" cy="448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4.emf"/><Relationship Id="rId4" Type="http://schemas.openxmlformats.org/officeDocument/2006/relationships/tags" Target="../tags/tag11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3" Type="http://schemas.openxmlformats.org/officeDocument/2006/relationships/tags" Target="../tags/tag124.xml"/><Relationship Id="rId21" Type="http://schemas.openxmlformats.org/officeDocument/2006/relationships/slideLayout" Target="../slideLayouts/slideLayout16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tags" Target="../tags/tag141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10" Type="http://schemas.openxmlformats.org/officeDocument/2006/relationships/tags" Target="../tags/tag131.xml"/><Relationship Id="rId19" Type="http://schemas.openxmlformats.org/officeDocument/2006/relationships/tags" Target="../tags/tag140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slideLayout" Target="../slideLayouts/slideLayout16.xml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26" Type="http://schemas.openxmlformats.org/officeDocument/2006/relationships/tags" Target="../tags/tag183.xml"/><Relationship Id="rId3" Type="http://schemas.openxmlformats.org/officeDocument/2006/relationships/tags" Target="../tags/tag160.xml"/><Relationship Id="rId21" Type="http://schemas.openxmlformats.org/officeDocument/2006/relationships/tags" Target="../tags/tag178.xml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tags" Target="../tags/tag182.xml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29" Type="http://schemas.openxmlformats.org/officeDocument/2006/relationships/tags" Target="../tags/tag186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24" Type="http://schemas.openxmlformats.org/officeDocument/2006/relationships/tags" Target="../tags/tag181.xml"/><Relationship Id="rId32" Type="http://schemas.openxmlformats.org/officeDocument/2006/relationships/slideLayout" Target="../slideLayouts/slideLayout16.xml"/><Relationship Id="rId5" Type="http://schemas.openxmlformats.org/officeDocument/2006/relationships/tags" Target="../tags/tag162.xml"/><Relationship Id="rId15" Type="http://schemas.openxmlformats.org/officeDocument/2006/relationships/tags" Target="../tags/tag172.xml"/><Relationship Id="rId23" Type="http://schemas.openxmlformats.org/officeDocument/2006/relationships/tags" Target="../tags/tag180.xml"/><Relationship Id="rId28" Type="http://schemas.openxmlformats.org/officeDocument/2006/relationships/tags" Target="../tags/tag185.xml"/><Relationship Id="rId10" Type="http://schemas.openxmlformats.org/officeDocument/2006/relationships/tags" Target="../tags/tag167.xml"/><Relationship Id="rId19" Type="http://schemas.openxmlformats.org/officeDocument/2006/relationships/tags" Target="../tags/tag176.xml"/><Relationship Id="rId31" Type="http://schemas.openxmlformats.org/officeDocument/2006/relationships/tags" Target="../tags/tag188.xml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tags" Target="../tags/tag171.xml"/><Relationship Id="rId22" Type="http://schemas.openxmlformats.org/officeDocument/2006/relationships/tags" Target="../tags/tag179.xml"/><Relationship Id="rId27" Type="http://schemas.openxmlformats.org/officeDocument/2006/relationships/tags" Target="../tags/tag184.xml"/><Relationship Id="rId30" Type="http://schemas.openxmlformats.org/officeDocument/2006/relationships/tags" Target="../tags/tag18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tags" Target="../tags/tag214.xml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34" Type="http://schemas.openxmlformats.org/officeDocument/2006/relationships/tags" Target="../tags/tag222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33" Type="http://schemas.openxmlformats.org/officeDocument/2006/relationships/tags" Target="../tags/tag221.xml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tags" Target="../tags/tag217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tags" Target="../tags/tag212.xml"/><Relationship Id="rId32" Type="http://schemas.openxmlformats.org/officeDocument/2006/relationships/tags" Target="../tags/tag220.xml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tags" Target="../tags/tag216.xml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31" Type="http://schemas.openxmlformats.org/officeDocument/2006/relationships/tags" Target="../tags/tag219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Relationship Id="rId30" Type="http://schemas.openxmlformats.org/officeDocument/2006/relationships/tags" Target="../tags/tag218.xml"/><Relationship Id="rId35" Type="http://schemas.openxmlformats.org/officeDocument/2006/relationships/slideLayout" Target="../slideLayouts/slideLayout23.xml"/><Relationship Id="rId8" Type="http://schemas.openxmlformats.org/officeDocument/2006/relationships/tags" Target="../tags/tag196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35.xml"/><Relationship Id="rId18" Type="http://schemas.openxmlformats.org/officeDocument/2006/relationships/tags" Target="../tags/tag240.xml"/><Relationship Id="rId26" Type="http://schemas.openxmlformats.org/officeDocument/2006/relationships/tags" Target="../tags/tag248.xml"/><Relationship Id="rId3" Type="http://schemas.openxmlformats.org/officeDocument/2006/relationships/tags" Target="../tags/tag225.xml"/><Relationship Id="rId21" Type="http://schemas.openxmlformats.org/officeDocument/2006/relationships/tags" Target="../tags/tag243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17" Type="http://schemas.openxmlformats.org/officeDocument/2006/relationships/tags" Target="../tags/tag239.xml"/><Relationship Id="rId25" Type="http://schemas.openxmlformats.org/officeDocument/2006/relationships/tags" Target="../tags/tag247.xml"/><Relationship Id="rId33" Type="http://schemas.openxmlformats.org/officeDocument/2006/relationships/slideLayout" Target="../slideLayouts/slideLayout23.xml"/><Relationship Id="rId2" Type="http://schemas.openxmlformats.org/officeDocument/2006/relationships/tags" Target="../tags/tag224.xml"/><Relationship Id="rId16" Type="http://schemas.openxmlformats.org/officeDocument/2006/relationships/tags" Target="../tags/tag238.xml"/><Relationship Id="rId20" Type="http://schemas.openxmlformats.org/officeDocument/2006/relationships/tags" Target="../tags/tag242.xml"/><Relationship Id="rId29" Type="http://schemas.openxmlformats.org/officeDocument/2006/relationships/tags" Target="../tags/tag251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24" Type="http://schemas.openxmlformats.org/officeDocument/2006/relationships/tags" Target="../tags/tag246.xml"/><Relationship Id="rId32" Type="http://schemas.openxmlformats.org/officeDocument/2006/relationships/tags" Target="../tags/tag254.xml"/><Relationship Id="rId5" Type="http://schemas.openxmlformats.org/officeDocument/2006/relationships/tags" Target="../tags/tag227.xml"/><Relationship Id="rId15" Type="http://schemas.openxmlformats.org/officeDocument/2006/relationships/tags" Target="../tags/tag237.xml"/><Relationship Id="rId23" Type="http://schemas.openxmlformats.org/officeDocument/2006/relationships/tags" Target="../tags/tag245.xml"/><Relationship Id="rId28" Type="http://schemas.openxmlformats.org/officeDocument/2006/relationships/tags" Target="../tags/tag250.xml"/><Relationship Id="rId10" Type="http://schemas.openxmlformats.org/officeDocument/2006/relationships/tags" Target="../tags/tag232.xml"/><Relationship Id="rId19" Type="http://schemas.openxmlformats.org/officeDocument/2006/relationships/tags" Target="../tags/tag241.xml"/><Relationship Id="rId31" Type="http://schemas.openxmlformats.org/officeDocument/2006/relationships/tags" Target="../tags/tag253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tags" Target="../tags/tag236.xml"/><Relationship Id="rId22" Type="http://schemas.openxmlformats.org/officeDocument/2006/relationships/tags" Target="../tags/tag244.xml"/><Relationship Id="rId27" Type="http://schemas.openxmlformats.org/officeDocument/2006/relationships/tags" Target="../tags/tag249.xml"/><Relationship Id="rId30" Type="http://schemas.openxmlformats.org/officeDocument/2006/relationships/tags" Target="../tags/tag252.xml"/><Relationship Id="rId8" Type="http://schemas.openxmlformats.org/officeDocument/2006/relationships/tags" Target="../tags/tag23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tags" Target="../tags/tag280.xml"/><Relationship Id="rId3" Type="http://schemas.openxmlformats.org/officeDocument/2006/relationships/tags" Target="../tags/tag257.xml"/><Relationship Id="rId21" Type="http://schemas.openxmlformats.org/officeDocument/2006/relationships/tags" Target="../tags/tag275.xml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tags" Target="../tags/tag279.xml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0" Type="http://schemas.openxmlformats.org/officeDocument/2006/relationships/tags" Target="../tags/tag274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24" Type="http://schemas.openxmlformats.org/officeDocument/2006/relationships/tags" Target="../tags/tag278.xml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23" Type="http://schemas.openxmlformats.org/officeDocument/2006/relationships/tags" Target="../tags/tag277.xml"/><Relationship Id="rId28" Type="http://schemas.openxmlformats.org/officeDocument/2006/relationships/slideLayout" Target="../slideLayouts/slideLayout23.xml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Relationship Id="rId27" Type="http://schemas.openxmlformats.org/officeDocument/2006/relationships/tags" Target="../tags/tag28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0" Type="http://schemas.openxmlformats.org/officeDocument/2006/relationships/slideLayout" Target="../slideLayouts/slideLayout2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10" Type="http://schemas.openxmlformats.org/officeDocument/2006/relationships/tags" Target="../tags/tag291.xml"/><Relationship Id="rId19" Type="http://schemas.openxmlformats.org/officeDocument/2006/relationships/tags" Target="../tags/tag300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13" Type="http://schemas.openxmlformats.org/officeDocument/2006/relationships/tags" Target="../tags/tag313.xml"/><Relationship Id="rId18" Type="http://schemas.openxmlformats.org/officeDocument/2006/relationships/tags" Target="../tags/tag318.xml"/><Relationship Id="rId26" Type="http://schemas.openxmlformats.org/officeDocument/2006/relationships/tags" Target="../tags/tag326.xml"/><Relationship Id="rId3" Type="http://schemas.openxmlformats.org/officeDocument/2006/relationships/tags" Target="../tags/tag303.xml"/><Relationship Id="rId21" Type="http://schemas.openxmlformats.org/officeDocument/2006/relationships/tags" Target="../tags/tag321.xml"/><Relationship Id="rId7" Type="http://schemas.openxmlformats.org/officeDocument/2006/relationships/tags" Target="../tags/tag307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25" Type="http://schemas.openxmlformats.org/officeDocument/2006/relationships/tags" Target="../tags/tag325.xml"/><Relationship Id="rId2" Type="http://schemas.openxmlformats.org/officeDocument/2006/relationships/tags" Target="../tags/tag302.xml"/><Relationship Id="rId16" Type="http://schemas.openxmlformats.org/officeDocument/2006/relationships/tags" Target="../tags/tag316.xml"/><Relationship Id="rId20" Type="http://schemas.openxmlformats.org/officeDocument/2006/relationships/tags" Target="../tags/tag320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11" Type="http://schemas.openxmlformats.org/officeDocument/2006/relationships/tags" Target="../tags/tag311.xml"/><Relationship Id="rId24" Type="http://schemas.openxmlformats.org/officeDocument/2006/relationships/tags" Target="../tags/tag324.xml"/><Relationship Id="rId5" Type="http://schemas.openxmlformats.org/officeDocument/2006/relationships/tags" Target="../tags/tag305.xml"/><Relationship Id="rId15" Type="http://schemas.openxmlformats.org/officeDocument/2006/relationships/tags" Target="../tags/tag315.xml"/><Relationship Id="rId23" Type="http://schemas.openxmlformats.org/officeDocument/2006/relationships/tags" Target="../tags/tag323.xml"/><Relationship Id="rId28" Type="http://schemas.openxmlformats.org/officeDocument/2006/relationships/slideLayout" Target="../slideLayouts/slideLayout23.xml"/><Relationship Id="rId10" Type="http://schemas.openxmlformats.org/officeDocument/2006/relationships/tags" Target="../tags/tag310.xml"/><Relationship Id="rId19" Type="http://schemas.openxmlformats.org/officeDocument/2006/relationships/tags" Target="../tags/tag319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14" Type="http://schemas.openxmlformats.org/officeDocument/2006/relationships/tags" Target="../tags/tag314.xml"/><Relationship Id="rId22" Type="http://schemas.openxmlformats.org/officeDocument/2006/relationships/tags" Target="../tags/tag322.xml"/><Relationship Id="rId27" Type="http://schemas.openxmlformats.org/officeDocument/2006/relationships/tags" Target="../tags/tag32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tags" Target="../tags/tag340.xml"/><Relationship Id="rId18" Type="http://schemas.openxmlformats.org/officeDocument/2006/relationships/tags" Target="../tags/tag345.xml"/><Relationship Id="rId3" Type="http://schemas.openxmlformats.org/officeDocument/2006/relationships/tags" Target="../tags/tag330.xml"/><Relationship Id="rId21" Type="http://schemas.openxmlformats.org/officeDocument/2006/relationships/tags" Target="../tags/tag348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17" Type="http://schemas.openxmlformats.org/officeDocument/2006/relationships/tags" Target="../tags/tag344.xml"/><Relationship Id="rId2" Type="http://schemas.openxmlformats.org/officeDocument/2006/relationships/tags" Target="../tags/tag329.xml"/><Relationship Id="rId16" Type="http://schemas.openxmlformats.org/officeDocument/2006/relationships/tags" Target="../tags/tag343.xml"/><Relationship Id="rId20" Type="http://schemas.openxmlformats.org/officeDocument/2006/relationships/tags" Target="../tags/tag347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tags" Target="../tags/tag338.xml"/><Relationship Id="rId24" Type="http://schemas.openxmlformats.org/officeDocument/2006/relationships/slideLayout" Target="../slideLayouts/slideLayout23.xml"/><Relationship Id="rId5" Type="http://schemas.openxmlformats.org/officeDocument/2006/relationships/tags" Target="../tags/tag332.xml"/><Relationship Id="rId15" Type="http://schemas.openxmlformats.org/officeDocument/2006/relationships/tags" Target="../tags/tag342.xml"/><Relationship Id="rId23" Type="http://schemas.openxmlformats.org/officeDocument/2006/relationships/tags" Target="../tags/tag350.xml"/><Relationship Id="rId10" Type="http://schemas.openxmlformats.org/officeDocument/2006/relationships/tags" Target="../tags/tag337.xml"/><Relationship Id="rId19" Type="http://schemas.openxmlformats.org/officeDocument/2006/relationships/tags" Target="../tags/tag346.xml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openxmlformats.org/officeDocument/2006/relationships/tags" Target="../tags/tag341.xml"/><Relationship Id="rId22" Type="http://schemas.openxmlformats.org/officeDocument/2006/relationships/tags" Target="../tags/tag34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58.xml"/><Relationship Id="rId13" Type="http://schemas.openxmlformats.org/officeDocument/2006/relationships/tags" Target="../tags/tag363.xml"/><Relationship Id="rId18" Type="http://schemas.openxmlformats.org/officeDocument/2006/relationships/tags" Target="../tags/tag368.xml"/><Relationship Id="rId26" Type="http://schemas.openxmlformats.org/officeDocument/2006/relationships/tags" Target="../tags/tag376.xml"/><Relationship Id="rId3" Type="http://schemas.openxmlformats.org/officeDocument/2006/relationships/tags" Target="../tags/tag353.xml"/><Relationship Id="rId21" Type="http://schemas.openxmlformats.org/officeDocument/2006/relationships/tags" Target="../tags/tag371.xml"/><Relationship Id="rId7" Type="http://schemas.openxmlformats.org/officeDocument/2006/relationships/tags" Target="../tags/tag357.xml"/><Relationship Id="rId12" Type="http://schemas.openxmlformats.org/officeDocument/2006/relationships/tags" Target="../tags/tag362.xml"/><Relationship Id="rId17" Type="http://schemas.openxmlformats.org/officeDocument/2006/relationships/tags" Target="../tags/tag367.xml"/><Relationship Id="rId25" Type="http://schemas.openxmlformats.org/officeDocument/2006/relationships/tags" Target="../tags/tag375.xml"/><Relationship Id="rId2" Type="http://schemas.openxmlformats.org/officeDocument/2006/relationships/tags" Target="../tags/tag352.xml"/><Relationship Id="rId16" Type="http://schemas.openxmlformats.org/officeDocument/2006/relationships/tags" Target="../tags/tag366.xml"/><Relationship Id="rId20" Type="http://schemas.openxmlformats.org/officeDocument/2006/relationships/tags" Target="../tags/tag370.xml"/><Relationship Id="rId1" Type="http://schemas.openxmlformats.org/officeDocument/2006/relationships/tags" Target="../tags/tag351.xml"/><Relationship Id="rId6" Type="http://schemas.openxmlformats.org/officeDocument/2006/relationships/tags" Target="../tags/tag356.xml"/><Relationship Id="rId11" Type="http://schemas.openxmlformats.org/officeDocument/2006/relationships/tags" Target="../tags/tag361.xml"/><Relationship Id="rId24" Type="http://schemas.openxmlformats.org/officeDocument/2006/relationships/tags" Target="../tags/tag374.xml"/><Relationship Id="rId5" Type="http://schemas.openxmlformats.org/officeDocument/2006/relationships/tags" Target="../tags/tag355.xml"/><Relationship Id="rId15" Type="http://schemas.openxmlformats.org/officeDocument/2006/relationships/tags" Target="../tags/tag365.xml"/><Relationship Id="rId23" Type="http://schemas.openxmlformats.org/officeDocument/2006/relationships/tags" Target="../tags/tag373.xml"/><Relationship Id="rId10" Type="http://schemas.openxmlformats.org/officeDocument/2006/relationships/tags" Target="../tags/tag360.xml"/><Relationship Id="rId19" Type="http://schemas.openxmlformats.org/officeDocument/2006/relationships/tags" Target="../tags/tag369.xml"/><Relationship Id="rId4" Type="http://schemas.openxmlformats.org/officeDocument/2006/relationships/tags" Target="../tags/tag354.xml"/><Relationship Id="rId9" Type="http://schemas.openxmlformats.org/officeDocument/2006/relationships/tags" Target="../tags/tag359.xml"/><Relationship Id="rId14" Type="http://schemas.openxmlformats.org/officeDocument/2006/relationships/tags" Target="../tags/tag364.xml"/><Relationship Id="rId22" Type="http://schemas.openxmlformats.org/officeDocument/2006/relationships/tags" Target="../tags/tag372.xml"/><Relationship Id="rId27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17" Type="http://schemas.openxmlformats.org/officeDocument/2006/relationships/tags" Target="../tags/tag493.xml"/><Relationship Id="rId299" Type="http://schemas.openxmlformats.org/officeDocument/2006/relationships/tags" Target="../tags/tag675.xml"/><Relationship Id="rId21" Type="http://schemas.openxmlformats.org/officeDocument/2006/relationships/tags" Target="../tags/tag397.xml"/><Relationship Id="rId63" Type="http://schemas.openxmlformats.org/officeDocument/2006/relationships/tags" Target="../tags/tag439.xml"/><Relationship Id="rId159" Type="http://schemas.openxmlformats.org/officeDocument/2006/relationships/tags" Target="../tags/tag535.xml"/><Relationship Id="rId324" Type="http://schemas.openxmlformats.org/officeDocument/2006/relationships/tags" Target="../tags/tag700.xml"/><Relationship Id="rId170" Type="http://schemas.openxmlformats.org/officeDocument/2006/relationships/tags" Target="../tags/tag546.xml"/><Relationship Id="rId226" Type="http://schemas.openxmlformats.org/officeDocument/2006/relationships/tags" Target="../tags/tag602.xml"/><Relationship Id="rId268" Type="http://schemas.openxmlformats.org/officeDocument/2006/relationships/tags" Target="../tags/tag644.xml"/><Relationship Id="rId32" Type="http://schemas.openxmlformats.org/officeDocument/2006/relationships/tags" Target="../tags/tag408.xml"/><Relationship Id="rId74" Type="http://schemas.openxmlformats.org/officeDocument/2006/relationships/tags" Target="../tags/tag450.xml"/><Relationship Id="rId128" Type="http://schemas.openxmlformats.org/officeDocument/2006/relationships/tags" Target="../tags/tag504.xml"/><Relationship Id="rId335" Type="http://schemas.openxmlformats.org/officeDocument/2006/relationships/tags" Target="../tags/tag711.xml"/><Relationship Id="rId5" Type="http://schemas.openxmlformats.org/officeDocument/2006/relationships/tags" Target="../tags/tag381.xml"/><Relationship Id="rId181" Type="http://schemas.openxmlformats.org/officeDocument/2006/relationships/tags" Target="../tags/tag557.xml"/><Relationship Id="rId237" Type="http://schemas.openxmlformats.org/officeDocument/2006/relationships/tags" Target="../tags/tag613.xml"/><Relationship Id="rId279" Type="http://schemas.openxmlformats.org/officeDocument/2006/relationships/tags" Target="../tags/tag655.xml"/><Relationship Id="rId43" Type="http://schemas.openxmlformats.org/officeDocument/2006/relationships/tags" Target="../tags/tag419.xml"/><Relationship Id="rId139" Type="http://schemas.openxmlformats.org/officeDocument/2006/relationships/tags" Target="../tags/tag515.xml"/><Relationship Id="rId290" Type="http://schemas.openxmlformats.org/officeDocument/2006/relationships/tags" Target="../tags/tag666.xml"/><Relationship Id="rId304" Type="http://schemas.openxmlformats.org/officeDocument/2006/relationships/tags" Target="../tags/tag680.xml"/><Relationship Id="rId346" Type="http://schemas.openxmlformats.org/officeDocument/2006/relationships/tags" Target="../tags/tag722.xml"/><Relationship Id="rId85" Type="http://schemas.openxmlformats.org/officeDocument/2006/relationships/tags" Target="../tags/tag461.xml"/><Relationship Id="rId150" Type="http://schemas.openxmlformats.org/officeDocument/2006/relationships/tags" Target="../tags/tag526.xml"/><Relationship Id="rId192" Type="http://schemas.openxmlformats.org/officeDocument/2006/relationships/tags" Target="../tags/tag568.xml"/><Relationship Id="rId206" Type="http://schemas.openxmlformats.org/officeDocument/2006/relationships/tags" Target="../tags/tag582.xml"/><Relationship Id="rId248" Type="http://schemas.openxmlformats.org/officeDocument/2006/relationships/tags" Target="../tags/tag624.xml"/><Relationship Id="rId12" Type="http://schemas.openxmlformats.org/officeDocument/2006/relationships/tags" Target="../tags/tag388.xml"/><Relationship Id="rId108" Type="http://schemas.openxmlformats.org/officeDocument/2006/relationships/tags" Target="../tags/tag484.xml"/><Relationship Id="rId315" Type="http://schemas.openxmlformats.org/officeDocument/2006/relationships/tags" Target="../tags/tag691.xml"/><Relationship Id="rId54" Type="http://schemas.openxmlformats.org/officeDocument/2006/relationships/tags" Target="../tags/tag430.xml"/><Relationship Id="rId96" Type="http://schemas.openxmlformats.org/officeDocument/2006/relationships/tags" Target="../tags/tag472.xml"/><Relationship Id="rId161" Type="http://schemas.openxmlformats.org/officeDocument/2006/relationships/tags" Target="../tags/tag537.xml"/><Relationship Id="rId217" Type="http://schemas.openxmlformats.org/officeDocument/2006/relationships/tags" Target="../tags/tag593.xml"/><Relationship Id="rId259" Type="http://schemas.openxmlformats.org/officeDocument/2006/relationships/tags" Target="../tags/tag635.xml"/><Relationship Id="rId23" Type="http://schemas.openxmlformats.org/officeDocument/2006/relationships/tags" Target="../tags/tag399.xml"/><Relationship Id="rId119" Type="http://schemas.openxmlformats.org/officeDocument/2006/relationships/tags" Target="../tags/tag495.xml"/><Relationship Id="rId270" Type="http://schemas.openxmlformats.org/officeDocument/2006/relationships/tags" Target="../tags/tag646.xml"/><Relationship Id="rId326" Type="http://schemas.openxmlformats.org/officeDocument/2006/relationships/tags" Target="../tags/tag702.xml"/><Relationship Id="rId65" Type="http://schemas.openxmlformats.org/officeDocument/2006/relationships/tags" Target="../tags/tag441.xml"/><Relationship Id="rId130" Type="http://schemas.openxmlformats.org/officeDocument/2006/relationships/tags" Target="../tags/tag506.xml"/><Relationship Id="rId172" Type="http://schemas.openxmlformats.org/officeDocument/2006/relationships/tags" Target="../tags/tag548.xml"/><Relationship Id="rId228" Type="http://schemas.openxmlformats.org/officeDocument/2006/relationships/tags" Target="../tags/tag604.xml"/><Relationship Id="rId281" Type="http://schemas.openxmlformats.org/officeDocument/2006/relationships/tags" Target="../tags/tag657.xml"/><Relationship Id="rId337" Type="http://schemas.openxmlformats.org/officeDocument/2006/relationships/tags" Target="../tags/tag713.xml"/><Relationship Id="rId34" Type="http://schemas.openxmlformats.org/officeDocument/2006/relationships/tags" Target="../tags/tag410.xml"/><Relationship Id="rId76" Type="http://schemas.openxmlformats.org/officeDocument/2006/relationships/tags" Target="../tags/tag452.xml"/><Relationship Id="rId141" Type="http://schemas.openxmlformats.org/officeDocument/2006/relationships/tags" Target="../tags/tag517.xml"/><Relationship Id="rId7" Type="http://schemas.openxmlformats.org/officeDocument/2006/relationships/tags" Target="../tags/tag383.xml"/><Relationship Id="rId183" Type="http://schemas.openxmlformats.org/officeDocument/2006/relationships/tags" Target="../tags/tag559.xml"/><Relationship Id="rId239" Type="http://schemas.openxmlformats.org/officeDocument/2006/relationships/tags" Target="../tags/tag615.xml"/><Relationship Id="rId250" Type="http://schemas.openxmlformats.org/officeDocument/2006/relationships/tags" Target="../tags/tag626.xml"/><Relationship Id="rId292" Type="http://schemas.openxmlformats.org/officeDocument/2006/relationships/tags" Target="../tags/tag668.xml"/><Relationship Id="rId306" Type="http://schemas.openxmlformats.org/officeDocument/2006/relationships/tags" Target="../tags/tag682.xml"/><Relationship Id="rId45" Type="http://schemas.openxmlformats.org/officeDocument/2006/relationships/tags" Target="../tags/tag421.xml"/><Relationship Id="rId87" Type="http://schemas.openxmlformats.org/officeDocument/2006/relationships/tags" Target="../tags/tag463.xml"/><Relationship Id="rId110" Type="http://schemas.openxmlformats.org/officeDocument/2006/relationships/tags" Target="../tags/tag486.xml"/><Relationship Id="rId152" Type="http://schemas.openxmlformats.org/officeDocument/2006/relationships/tags" Target="../tags/tag528.xml"/><Relationship Id="rId194" Type="http://schemas.openxmlformats.org/officeDocument/2006/relationships/tags" Target="../tags/tag570.xml"/><Relationship Id="rId208" Type="http://schemas.openxmlformats.org/officeDocument/2006/relationships/tags" Target="../tags/tag584.xml"/><Relationship Id="rId261" Type="http://schemas.openxmlformats.org/officeDocument/2006/relationships/tags" Target="../tags/tag637.xml"/><Relationship Id="rId14" Type="http://schemas.openxmlformats.org/officeDocument/2006/relationships/tags" Target="../tags/tag390.xml"/><Relationship Id="rId35" Type="http://schemas.openxmlformats.org/officeDocument/2006/relationships/tags" Target="../tags/tag411.xml"/><Relationship Id="rId56" Type="http://schemas.openxmlformats.org/officeDocument/2006/relationships/tags" Target="../tags/tag432.xml"/><Relationship Id="rId77" Type="http://schemas.openxmlformats.org/officeDocument/2006/relationships/tags" Target="../tags/tag453.xml"/><Relationship Id="rId100" Type="http://schemas.openxmlformats.org/officeDocument/2006/relationships/tags" Target="../tags/tag476.xml"/><Relationship Id="rId282" Type="http://schemas.openxmlformats.org/officeDocument/2006/relationships/tags" Target="../tags/tag658.xml"/><Relationship Id="rId317" Type="http://schemas.openxmlformats.org/officeDocument/2006/relationships/tags" Target="../tags/tag693.xml"/><Relationship Id="rId338" Type="http://schemas.openxmlformats.org/officeDocument/2006/relationships/tags" Target="../tags/tag714.xml"/><Relationship Id="rId8" Type="http://schemas.openxmlformats.org/officeDocument/2006/relationships/tags" Target="../tags/tag384.xml"/><Relationship Id="rId98" Type="http://schemas.openxmlformats.org/officeDocument/2006/relationships/tags" Target="../tags/tag474.xml"/><Relationship Id="rId121" Type="http://schemas.openxmlformats.org/officeDocument/2006/relationships/tags" Target="../tags/tag497.xml"/><Relationship Id="rId142" Type="http://schemas.openxmlformats.org/officeDocument/2006/relationships/tags" Target="../tags/tag518.xml"/><Relationship Id="rId163" Type="http://schemas.openxmlformats.org/officeDocument/2006/relationships/tags" Target="../tags/tag539.xml"/><Relationship Id="rId184" Type="http://schemas.openxmlformats.org/officeDocument/2006/relationships/tags" Target="../tags/tag560.xml"/><Relationship Id="rId219" Type="http://schemas.openxmlformats.org/officeDocument/2006/relationships/tags" Target="../tags/tag595.xml"/><Relationship Id="rId230" Type="http://schemas.openxmlformats.org/officeDocument/2006/relationships/tags" Target="../tags/tag606.xml"/><Relationship Id="rId251" Type="http://schemas.openxmlformats.org/officeDocument/2006/relationships/tags" Target="../tags/tag627.xml"/><Relationship Id="rId25" Type="http://schemas.openxmlformats.org/officeDocument/2006/relationships/tags" Target="../tags/tag401.xml"/><Relationship Id="rId46" Type="http://schemas.openxmlformats.org/officeDocument/2006/relationships/tags" Target="../tags/tag422.xml"/><Relationship Id="rId67" Type="http://schemas.openxmlformats.org/officeDocument/2006/relationships/tags" Target="../tags/tag443.xml"/><Relationship Id="rId272" Type="http://schemas.openxmlformats.org/officeDocument/2006/relationships/tags" Target="../tags/tag648.xml"/><Relationship Id="rId293" Type="http://schemas.openxmlformats.org/officeDocument/2006/relationships/tags" Target="../tags/tag669.xml"/><Relationship Id="rId307" Type="http://schemas.openxmlformats.org/officeDocument/2006/relationships/tags" Target="../tags/tag683.xml"/><Relationship Id="rId328" Type="http://schemas.openxmlformats.org/officeDocument/2006/relationships/tags" Target="../tags/tag704.xml"/><Relationship Id="rId88" Type="http://schemas.openxmlformats.org/officeDocument/2006/relationships/tags" Target="../tags/tag464.xml"/><Relationship Id="rId111" Type="http://schemas.openxmlformats.org/officeDocument/2006/relationships/tags" Target="../tags/tag487.xml"/><Relationship Id="rId132" Type="http://schemas.openxmlformats.org/officeDocument/2006/relationships/tags" Target="../tags/tag508.xml"/><Relationship Id="rId153" Type="http://schemas.openxmlformats.org/officeDocument/2006/relationships/tags" Target="../tags/tag529.xml"/><Relationship Id="rId174" Type="http://schemas.openxmlformats.org/officeDocument/2006/relationships/tags" Target="../tags/tag550.xml"/><Relationship Id="rId195" Type="http://schemas.openxmlformats.org/officeDocument/2006/relationships/tags" Target="../tags/tag571.xml"/><Relationship Id="rId209" Type="http://schemas.openxmlformats.org/officeDocument/2006/relationships/tags" Target="../tags/tag585.xml"/><Relationship Id="rId220" Type="http://schemas.openxmlformats.org/officeDocument/2006/relationships/tags" Target="../tags/tag596.xml"/><Relationship Id="rId241" Type="http://schemas.openxmlformats.org/officeDocument/2006/relationships/tags" Target="../tags/tag617.xml"/><Relationship Id="rId15" Type="http://schemas.openxmlformats.org/officeDocument/2006/relationships/tags" Target="../tags/tag391.xml"/><Relationship Id="rId36" Type="http://schemas.openxmlformats.org/officeDocument/2006/relationships/tags" Target="../tags/tag412.xml"/><Relationship Id="rId57" Type="http://schemas.openxmlformats.org/officeDocument/2006/relationships/tags" Target="../tags/tag433.xml"/><Relationship Id="rId262" Type="http://schemas.openxmlformats.org/officeDocument/2006/relationships/tags" Target="../tags/tag638.xml"/><Relationship Id="rId283" Type="http://schemas.openxmlformats.org/officeDocument/2006/relationships/tags" Target="../tags/tag659.xml"/><Relationship Id="rId318" Type="http://schemas.openxmlformats.org/officeDocument/2006/relationships/tags" Target="../tags/tag694.xml"/><Relationship Id="rId339" Type="http://schemas.openxmlformats.org/officeDocument/2006/relationships/tags" Target="../tags/tag715.xml"/><Relationship Id="rId78" Type="http://schemas.openxmlformats.org/officeDocument/2006/relationships/tags" Target="../tags/tag454.xml"/><Relationship Id="rId99" Type="http://schemas.openxmlformats.org/officeDocument/2006/relationships/tags" Target="../tags/tag475.xml"/><Relationship Id="rId101" Type="http://schemas.openxmlformats.org/officeDocument/2006/relationships/tags" Target="../tags/tag477.xml"/><Relationship Id="rId122" Type="http://schemas.openxmlformats.org/officeDocument/2006/relationships/tags" Target="../tags/tag498.xml"/><Relationship Id="rId143" Type="http://schemas.openxmlformats.org/officeDocument/2006/relationships/tags" Target="../tags/tag519.xml"/><Relationship Id="rId164" Type="http://schemas.openxmlformats.org/officeDocument/2006/relationships/tags" Target="../tags/tag540.xml"/><Relationship Id="rId185" Type="http://schemas.openxmlformats.org/officeDocument/2006/relationships/tags" Target="../tags/tag561.xml"/><Relationship Id="rId9" Type="http://schemas.openxmlformats.org/officeDocument/2006/relationships/tags" Target="../tags/tag385.xml"/><Relationship Id="rId210" Type="http://schemas.openxmlformats.org/officeDocument/2006/relationships/tags" Target="../tags/tag586.xml"/><Relationship Id="rId26" Type="http://schemas.openxmlformats.org/officeDocument/2006/relationships/tags" Target="../tags/tag402.xml"/><Relationship Id="rId231" Type="http://schemas.openxmlformats.org/officeDocument/2006/relationships/tags" Target="../tags/tag607.xml"/><Relationship Id="rId252" Type="http://schemas.openxmlformats.org/officeDocument/2006/relationships/tags" Target="../tags/tag628.xml"/><Relationship Id="rId273" Type="http://schemas.openxmlformats.org/officeDocument/2006/relationships/tags" Target="../tags/tag649.xml"/><Relationship Id="rId294" Type="http://schemas.openxmlformats.org/officeDocument/2006/relationships/tags" Target="../tags/tag670.xml"/><Relationship Id="rId308" Type="http://schemas.openxmlformats.org/officeDocument/2006/relationships/tags" Target="../tags/tag684.xml"/><Relationship Id="rId329" Type="http://schemas.openxmlformats.org/officeDocument/2006/relationships/tags" Target="../tags/tag705.xml"/><Relationship Id="rId47" Type="http://schemas.openxmlformats.org/officeDocument/2006/relationships/tags" Target="../tags/tag423.xml"/><Relationship Id="rId68" Type="http://schemas.openxmlformats.org/officeDocument/2006/relationships/tags" Target="../tags/tag444.xml"/><Relationship Id="rId89" Type="http://schemas.openxmlformats.org/officeDocument/2006/relationships/tags" Target="../tags/tag465.xml"/><Relationship Id="rId112" Type="http://schemas.openxmlformats.org/officeDocument/2006/relationships/tags" Target="../tags/tag488.xml"/><Relationship Id="rId133" Type="http://schemas.openxmlformats.org/officeDocument/2006/relationships/tags" Target="../tags/tag509.xml"/><Relationship Id="rId154" Type="http://schemas.openxmlformats.org/officeDocument/2006/relationships/tags" Target="../tags/tag530.xml"/><Relationship Id="rId175" Type="http://schemas.openxmlformats.org/officeDocument/2006/relationships/tags" Target="../tags/tag551.xml"/><Relationship Id="rId340" Type="http://schemas.openxmlformats.org/officeDocument/2006/relationships/tags" Target="../tags/tag716.xml"/><Relationship Id="rId196" Type="http://schemas.openxmlformats.org/officeDocument/2006/relationships/tags" Target="../tags/tag572.xml"/><Relationship Id="rId200" Type="http://schemas.openxmlformats.org/officeDocument/2006/relationships/tags" Target="../tags/tag576.xml"/><Relationship Id="rId16" Type="http://schemas.openxmlformats.org/officeDocument/2006/relationships/tags" Target="../tags/tag392.xml"/><Relationship Id="rId221" Type="http://schemas.openxmlformats.org/officeDocument/2006/relationships/tags" Target="../tags/tag597.xml"/><Relationship Id="rId242" Type="http://schemas.openxmlformats.org/officeDocument/2006/relationships/tags" Target="../tags/tag618.xml"/><Relationship Id="rId263" Type="http://schemas.openxmlformats.org/officeDocument/2006/relationships/tags" Target="../tags/tag639.xml"/><Relationship Id="rId284" Type="http://schemas.openxmlformats.org/officeDocument/2006/relationships/tags" Target="../tags/tag660.xml"/><Relationship Id="rId319" Type="http://schemas.openxmlformats.org/officeDocument/2006/relationships/tags" Target="../tags/tag695.xml"/><Relationship Id="rId37" Type="http://schemas.openxmlformats.org/officeDocument/2006/relationships/tags" Target="../tags/tag413.xml"/><Relationship Id="rId58" Type="http://schemas.openxmlformats.org/officeDocument/2006/relationships/tags" Target="../tags/tag434.xml"/><Relationship Id="rId79" Type="http://schemas.openxmlformats.org/officeDocument/2006/relationships/tags" Target="../tags/tag455.xml"/><Relationship Id="rId102" Type="http://schemas.openxmlformats.org/officeDocument/2006/relationships/tags" Target="../tags/tag478.xml"/><Relationship Id="rId123" Type="http://schemas.openxmlformats.org/officeDocument/2006/relationships/tags" Target="../tags/tag499.xml"/><Relationship Id="rId144" Type="http://schemas.openxmlformats.org/officeDocument/2006/relationships/tags" Target="../tags/tag520.xml"/><Relationship Id="rId330" Type="http://schemas.openxmlformats.org/officeDocument/2006/relationships/tags" Target="../tags/tag706.xml"/><Relationship Id="rId90" Type="http://schemas.openxmlformats.org/officeDocument/2006/relationships/tags" Target="../tags/tag466.xml"/><Relationship Id="rId165" Type="http://schemas.openxmlformats.org/officeDocument/2006/relationships/tags" Target="../tags/tag541.xml"/><Relationship Id="rId186" Type="http://schemas.openxmlformats.org/officeDocument/2006/relationships/tags" Target="../tags/tag562.xml"/><Relationship Id="rId211" Type="http://schemas.openxmlformats.org/officeDocument/2006/relationships/tags" Target="../tags/tag587.xml"/><Relationship Id="rId232" Type="http://schemas.openxmlformats.org/officeDocument/2006/relationships/tags" Target="../tags/tag608.xml"/><Relationship Id="rId253" Type="http://schemas.openxmlformats.org/officeDocument/2006/relationships/tags" Target="../tags/tag629.xml"/><Relationship Id="rId274" Type="http://schemas.openxmlformats.org/officeDocument/2006/relationships/tags" Target="../tags/tag650.xml"/><Relationship Id="rId295" Type="http://schemas.openxmlformats.org/officeDocument/2006/relationships/tags" Target="../tags/tag671.xml"/><Relationship Id="rId309" Type="http://schemas.openxmlformats.org/officeDocument/2006/relationships/tags" Target="../tags/tag685.xml"/><Relationship Id="rId27" Type="http://schemas.openxmlformats.org/officeDocument/2006/relationships/tags" Target="../tags/tag403.xml"/><Relationship Id="rId48" Type="http://schemas.openxmlformats.org/officeDocument/2006/relationships/tags" Target="../tags/tag424.xml"/><Relationship Id="rId69" Type="http://schemas.openxmlformats.org/officeDocument/2006/relationships/tags" Target="../tags/tag445.xml"/><Relationship Id="rId113" Type="http://schemas.openxmlformats.org/officeDocument/2006/relationships/tags" Target="../tags/tag489.xml"/><Relationship Id="rId134" Type="http://schemas.openxmlformats.org/officeDocument/2006/relationships/tags" Target="../tags/tag510.xml"/><Relationship Id="rId320" Type="http://schemas.openxmlformats.org/officeDocument/2006/relationships/tags" Target="../tags/tag696.xml"/><Relationship Id="rId80" Type="http://schemas.openxmlformats.org/officeDocument/2006/relationships/tags" Target="../tags/tag456.xml"/><Relationship Id="rId155" Type="http://schemas.openxmlformats.org/officeDocument/2006/relationships/tags" Target="../tags/tag531.xml"/><Relationship Id="rId176" Type="http://schemas.openxmlformats.org/officeDocument/2006/relationships/tags" Target="../tags/tag552.xml"/><Relationship Id="rId197" Type="http://schemas.openxmlformats.org/officeDocument/2006/relationships/tags" Target="../tags/tag573.xml"/><Relationship Id="rId341" Type="http://schemas.openxmlformats.org/officeDocument/2006/relationships/tags" Target="../tags/tag717.xml"/><Relationship Id="rId201" Type="http://schemas.openxmlformats.org/officeDocument/2006/relationships/tags" Target="../tags/tag577.xml"/><Relationship Id="rId222" Type="http://schemas.openxmlformats.org/officeDocument/2006/relationships/tags" Target="../tags/tag598.xml"/><Relationship Id="rId243" Type="http://schemas.openxmlformats.org/officeDocument/2006/relationships/tags" Target="../tags/tag619.xml"/><Relationship Id="rId264" Type="http://schemas.openxmlformats.org/officeDocument/2006/relationships/tags" Target="../tags/tag640.xml"/><Relationship Id="rId285" Type="http://schemas.openxmlformats.org/officeDocument/2006/relationships/tags" Target="../tags/tag661.xml"/><Relationship Id="rId17" Type="http://schemas.openxmlformats.org/officeDocument/2006/relationships/tags" Target="../tags/tag393.xml"/><Relationship Id="rId38" Type="http://schemas.openxmlformats.org/officeDocument/2006/relationships/tags" Target="../tags/tag414.xml"/><Relationship Id="rId59" Type="http://schemas.openxmlformats.org/officeDocument/2006/relationships/tags" Target="../tags/tag435.xml"/><Relationship Id="rId103" Type="http://schemas.openxmlformats.org/officeDocument/2006/relationships/tags" Target="../tags/tag479.xml"/><Relationship Id="rId124" Type="http://schemas.openxmlformats.org/officeDocument/2006/relationships/tags" Target="../tags/tag500.xml"/><Relationship Id="rId310" Type="http://schemas.openxmlformats.org/officeDocument/2006/relationships/tags" Target="../tags/tag686.xml"/><Relationship Id="rId70" Type="http://schemas.openxmlformats.org/officeDocument/2006/relationships/tags" Target="../tags/tag446.xml"/><Relationship Id="rId91" Type="http://schemas.openxmlformats.org/officeDocument/2006/relationships/tags" Target="../tags/tag467.xml"/><Relationship Id="rId145" Type="http://schemas.openxmlformats.org/officeDocument/2006/relationships/tags" Target="../tags/tag521.xml"/><Relationship Id="rId166" Type="http://schemas.openxmlformats.org/officeDocument/2006/relationships/tags" Target="../tags/tag542.xml"/><Relationship Id="rId187" Type="http://schemas.openxmlformats.org/officeDocument/2006/relationships/tags" Target="../tags/tag563.xml"/><Relationship Id="rId331" Type="http://schemas.openxmlformats.org/officeDocument/2006/relationships/tags" Target="../tags/tag707.xml"/><Relationship Id="rId1" Type="http://schemas.openxmlformats.org/officeDocument/2006/relationships/tags" Target="../tags/tag377.xml"/><Relationship Id="rId212" Type="http://schemas.openxmlformats.org/officeDocument/2006/relationships/tags" Target="../tags/tag588.xml"/><Relationship Id="rId233" Type="http://schemas.openxmlformats.org/officeDocument/2006/relationships/tags" Target="../tags/tag609.xml"/><Relationship Id="rId254" Type="http://schemas.openxmlformats.org/officeDocument/2006/relationships/tags" Target="../tags/tag630.xml"/><Relationship Id="rId28" Type="http://schemas.openxmlformats.org/officeDocument/2006/relationships/tags" Target="../tags/tag404.xml"/><Relationship Id="rId49" Type="http://schemas.openxmlformats.org/officeDocument/2006/relationships/tags" Target="../tags/tag425.xml"/><Relationship Id="rId114" Type="http://schemas.openxmlformats.org/officeDocument/2006/relationships/tags" Target="../tags/tag490.xml"/><Relationship Id="rId275" Type="http://schemas.openxmlformats.org/officeDocument/2006/relationships/tags" Target="../tags/tag651.xml"/><Relationship Id="rId296" Type="http://schemas.openxmlformats.org/officeDocument/2006/relationships/tags" Target="../tags/tag672.xml"/><Relationship Id="rId300" Type="http://schemas.openxmlformats.org/officeDocument/2006/relationships/tags" Target="../tags/tag676.xml"/><Relationship Id="rId60" Type="http://schemas.openxmlformats.org/officeDocument/2006/relationships/tags" Target="../tags/tag436.xml"/><Relationship Id="rId81" Type="http://schemas.openxmlformats.org/officeDocument/2006/relationships/tags" Target="../tags/tag457.xml"/><Relationship Id="rId135" Type="http://schemas.openxmlformats.org/officeDocument/2006/relationships/tags" Target="../tags/tag511.xml"/><Relationship Id="rId156" Type="http://schemas.openxmlformats.org/officeDocument/2006/relationships/tags" Target="../tags/tag532.xml"/><Relationship Id="rId177" Type="http://schemas.openxmlformats.org/officeDocument/2006/relationships/tags" Target="../tags/tag553.xml"/><Relationship Id="rId198" Type="http://schemas.openxmlformats.org/officeDocument/2006/relationships/tags" Target="../tags/tag574.xml"/><Relationship Id="rId321" Type="http://schemas.openxmlformats.org/officeDocument/2006/relationships/tags" Target="../tags/tag697.xml"/><Relationship Id="rId342" Type="http://schemas.openxmlformats.org/officeDocument/2006/relationships/tags" Target="../tags/tag718.xml"/><Relationship Id="rId202" Type="http://schemas.openxmlformats.org/officeDocument/2006/relationships/tags" Target="../tags/tag578.xml"/><Relationship Id="rId223" Type="http://schemas.openxmlformats.org/officeDocument/2006/relationships/tags" Target="../tags/tag599.xml"/><Relationship Id="rId244" Type="http://schemas.openxmlformats.org/officeDocument/2006/relationships/tags" Target="../tags/tag620.xml"/><Relationship Id="rId18" Type="http://schemas.openxmlformats.org/officeDocument/2006/relationships/tags" Target="../tags/tag394.xml"/><Relationship Id="rId39" Type="http://schemas.openxmlformats.org/officeDocument/2006/relationships/tags" Target="../tags/tag415.xml"/><Relationship Id="rId265" Type="http://schemas.openxmlformats.org/officeDocument/2006/relationships/tags" Target="../tags/tag641.xml"/><Relationship Id="rId286" Type="http://schemas.openxmlformats.org/officeDocument/2006/relationships/tags" Target="../tags/tag662.xml"/><Relationship Id="rId50" Type="http://schemas.openxmlformats.org/officeDocument/2006/relationships/tags" Target="../tags/tag426.xml"/><Relationship Id="rId104" Type="http://schemas.openxmlformats.org/officeDocument/2006/relationships/tags" Target="../tags/tag480.xml"/><Relationship Id="rId125" Type="http://schemas.openxmlformats.org/officeDocument/2006/relationships/tags" Target="../tags/tag501.xml"/><Relationship Id="rId146" Type="http://schemas.openxmlformats.org/officeDocument/2006/relationships/tags" Target="../tags/tag522.xml"/><Relationship Id="rId167" Type="http://schemas.openxmlformats.org/officeDocument/2006/relationships/tags" Target="../tags/tag543.xml"/><Relationship Id="rId188" Type="http://schemas.openxmlformats.org/officeDocument/2006/relationships/tags" Target="../tags/tag564.xml"/><Relationship Id="rId311" Type="http://schemas.openxmlformats.org/officeDocument/2006/relationships/tags" Target="../tags/tag687.xml"/><Relationship Id="rId332" Type="http://schemas.openxmlformats.org/officeDocument/2006/relationships/tags" Target="../tags/tag708.xml"/><Relationship Id="rId71" Type="http://schemas.openxmlformats.org/officeDocument/2006/relationships/tags" Target="../tags/tag447.xml"/><Relationship Id="rId92" Type="http://schemas.openxmlformats.org/officeDocument/2006/relationships/tags" Target="../tags/tag468.xml"/><Relationship Id="rId213" Type="http://schemas.openxmlformats.org/officeDocument/2006/relationships/tags" Target="../tags/tag589.xml"/><Relationship Id="rId234" Type="http://schemas.openxmlformats.org/officeDocument/2006/relationships/tags" Target="../tags/tag610.xml"/><Relationship Id="rId2" Type="http://schemas.openxmlformats.org/officeDocument/2006/relationships/tags" Target="../tags/tag378.xml"/><Relationship Id="rId29" Type="http://schemas.openxmlformats.org/officeDocument/2006/relationships/tags" Target="../tags/tag405.xml"/><Relationship Id="rId255" Type="http://schemas.openxmlformats.org/officeDocument/2006/relationships/tags" Target="../tags/tag631.xml"/><Relationship Id="rId276" Type="http://schemas.openxmlformats.org/officeDocument/2006/relationships/tags" Target="../tags/tag652.xml"/><Relationship Id="rId297" Type="http://schemas.openxmlformats.org/officeDocument/2006/relationships/tags" Target="../tags/tag673.xml"/><Relationship Id="rId40" Type="http://schemas.openxmlformats.org/officeDocument/2006/relationships/tags" Target="../tags/tag416.xml"/><Relationship Id="rId115" Type="http://schemas.openxmlformats.org/officeDocument/2006/relationships/tags" Target="../tags/tag491.xml"/><Relationship Id="rId136" Type="http://schemas.openxmlformats.org/officeDocument/2006/relationships/tags" Target="../tags/tag512.xml"/><Relationship Id="rId157" Type="http://schemas.openxmlformats.org/officeDocument/2006/relationships/tags" Target="../tags/tag533.xml"/><Relationship Id="rId178" Type="http://schemas.openxmlformats.org/officeDocument/2006/relationships/tags" Target="../tags/tag554.xml"/><Relationship Id="rId301" Type="http://schemas.openxmlformats.org/officeDocument/2006/relationships/tags" Target="../tags/tag677.xml"/><Relationship Id="rId322" Type="http://schemas.openxmlformats.org/officeDocument/2006/relationships/tags" Target="../tags/tag698.xml"/><Relationship Id="rId343" Type="http://schemas.openxmlformats.org/officeDocument/2006/relationships/tags" Target="../tags/tag719.xml"/><Relationship Id="rId61" Type="http://schemas.openxmlformats.org/officeDocument/2006/relationships/tags" Target="../tags/tag437.xml"/><Relationship Id="rId82" Type="http://schemas.openxmlformats.org/officeDocument/2006/relationships/tags" Target="../tags/tag458.xml"/><Relationship Id="rId199" Type="http://schemas.openxmlformats.org/officeDocument/2006/relationships/tags" Target="../tags/tag575.xml"/><Relationship Id="rId203" Type="http://schemas.openxmlformats.org/officeDocument/2006/relationships/tags" Target="../tags/tag579.xml"/><Relationship Id="rId19" Type="http://schemas.openxmlformats.org/officeDocument/2006/relationships/tags" Target="../tags/tag395.xml"/><Relationship Id="rId224" Type="http://schemas.openxmlformats.org/officeDocument/2006/relationships/tags" Target="../tags/tag600.xml"/><Relationship Id="rId245" Type="http://schemas.openxmlformats.org/officeDocument/2006/relationships/tags" Target="../tags/tag621.xml"/><Relationship Id="rId266" Type="http://schemas.openxmlformats.org/officeDocument/2006/relationships/tags" Target="../tags/tag642.xml"/><Relationship Id="rId287" Type="http://schemas.openxmlformats.org/officeDocument/2006/relationships/tags" Target="../tags/tag663.xml"/><Relationship Id="rId30" Type="http://schemas.openxmlformats.org/officeDocument/2006/relationships/tags" Target="../tags/tag406.xml"/><Relationship Id="rId105" Type="http://schemas.openxmlformats.org/officeDocument/2006/relationships/tags" Target="../tags/tag481.xml"/><Relationship Id="rId126" Type="http://schemas.openxmlformats.org/officeDocument/2006/relationships/tags" Target="../tags/tag502.xml"/><Relationship Id="rId147" Type="http://schemas.openxmlformats.org/officeDocument/2006/relationships/tags" Target="../tags/tag523.xml"/><Relationship Id="rId168" Type="http://schemas.openxmlformats.org/officeDocument/2006/relationships/tags" Target="../tags/tag544.xml"/><Relationship Id="rId312" Type="http://schemas.openxmlformats.org/officeDocument/2006/relationships/tags" Target="../tags/tag688.xml"/><Relationship Id="rId333" Type="http://schemas.openxmlformats.org/officeDocument/2006/relationships/tags" Target="../tags/tag709.xml"/><Relationship Id="rId51" Type="http://schemas.openxmlformats.org/officeDocument/2006/relationships/tags" Target="../tags/tag427.xml"/><Relationship Id="rId72" Type="http://schemas.openxmlformats.org/officeDocument/2006/relationships/tags" Target="../tags/tag448.xml"/><Relationship Id="rId93" Type="http://schemas.openxmlformats.org/officeDocument/2006/relationships/tags" Target="../tags/tag469.xml"/><Relationship Id="rId189" Type="http://schemas.openxmlformats.org/officeDocument/2006/relationships/tags" Target="../tags/tag565.xml"/><Relationship Id="rId3" Type="http://schemas.openxmlformats.org/officeDocument/2006/relationships/tags" Target="../tags/tag379.xml"/><Relationship Id="rId214" Type="http://schemas.openxmlformats.org/officeDocument/2006/relationships/tags" Target="../tags/tag590.xml"/><Relationship Id="rId235" Type="http://schemas.openxmlformats.org/officeDocument/2006/relationships/tags" Target="../tags/tag611.xml"/><Relationship Id="rId256" Type="http://schemas.openxmlformats.org/officeDocument/2006/relationships/tags" Target="../tags/tag632.xml"/><Relationship Id="rId277" Type="http://schemas.openxmlformats.org/officeDocument/2006/relationships/tags" Target="../tags/tag653.xml"/><Relationship Id="rId298" Type="http://schemas.openxmlformats.org/officeDocument/2006/relationships/tags" Target="../tags/tag674.xml"/><Relationship Id="rId116" Type="http://schemas.openxmlformats.org/officeDocument/2006/relationships/tags" Target="../tags/tag492.xml"/><Relationship Id="rId137" Type="http://schemas.openxmlformats.org/officeDocument/2006/relationships/tags" Target="../tags/tag513.xml"/><Relationship Id="rId158" Type="http://schemas.openxmlformats.org/officeDocument/2006/relationships/tags" Target="../tags/tag534.xml"/><Relationship Id="rId302" Type="http://schemas.openxmlformats.org/officeDocument/2006/relationships/tags" Target="../tags/tag678.xml"/><Relationship Id="rId323" Type="http://schemas.openxmlformats.org/officeDocument/2006/relationships/tags" Target="../tags/tag699.xml"/><Relationship Id="rId344" Type="http://schemas.openxmlformats.org/officeDocument/2006/relationships/tags" Target="../tags/tag720.xml"/><Relationship Id="rId20" Type="http://schemas.openxmlformats.org/officeDocument/2006/relationships/tags" Target="../tags/tag396.xml"/><Relationship Id="rId41" Type="http://schemas.openxmlformats.org/officeDocument/2006/relationships/tags" Target="../tags/tag417.xml"/><Relationship Id="rId62" Type="http://schemas.openxmlformats.org/officeDocument/2006/relationships/tags" Target="../tags/tag438.xml"/><Relationship Id="rId83" Type="http://schemas.openxmlformats.org/officeDocument/2006/relationships/tags" Target="../tags/tag459.xml"/><Relationship Id="rId179" Type="http://schemas.openxmlformats.org/officeDocument/2006/relationships/tags" Target="../tags/tag555.xml"/><Relationship Id="rId190" Type="http://schemas.openxmlformats.org/officeDocument/2006/relationships/tags" Target="../tags/tag566.xml"/><Relationship Id="rId204" Type="http://schemas.openxmlformats.org/officeDocument/2006/relationships/tags" Target="../tags/tag580.xml"/><Relationship Id="rId225" Type="http://schemas.openxmlformats.org/officeDocument/2006/relationships/tags" Target="../tags/tag601.xml"/><Relationship Id="rId246" Type="http://schemas.openxmlformats.org/officeDocument/2006/relationships/tags" Target="../tags/tag622.xml"/><Relationship Id="rId267" Type="http://schemas.openxmlformats.org/officeDocument/2006/relationships/tags" Target="../tags/tag643.xml"/><Relationship Id="rId288" Type="http://schemas.openxmlformats.org/officeDocument/2006/relationships/tags" Target="../tags/tag664.xml"/><Relationship Id="rId106" Type="http://schemas.openxmlformats.org/officeDocument/2006/relationships/tags" Target="../tags/tag482.xml"/><Relationship Id="rId127" Type="http://schemas.openxmlformats.org/officeDocument/2006/relationships/tags" Target="../tags/tag503.xml"/><Relationship Id="rId313" Type="http://schemas.openxmlformats.org/officeDocument/2006/relationships/tags" Target="../tags/tag689.xml"/><Relationship Id="rId10" Type="http://schemas.openxmlformats.org/officeDocument/2006/relationships/tags" Target="../tags/tag386.xml"/><Relationship Id="rId31" Type="http://schemas.openxmlformats.org/officeDocument/2006/relationships/tags" Target="../tags/tag407.xml"/><Relationship Id="rId52" Type="http://schemas.openxmlformats.org/officeDocument/2006/relationships/tags" Target="../tags/tag428.xml"/><Relationship Id="rId73" Type="http://schemas.openxmlformats.org/officeDocument/2006/relationships/tags" Target="../tags/tag449.xml"/><Relationship Id="rId94" Type="http://schemas.openxmlformats.org/officeDocument/2006/relationships/tags" Target="../tags/tag470.xml"/><Relationship Id="rId148" Type="http://schemas.openxmlformats.org/officeDocument/2006/relationships/tags" Target="../tags/tag524.xml"/><Relationship Id="rId169" Type="http://schemas.openxmlformats.org/officeDocument/2006/relationships/tags" Target="../tags/tag545.xml"/><Relationship Id="rId334" Type="http://schemas.openxmlformats.org/officeDocument/2006/relationships/tags" Target="../tags/tag710.xml"/><Relationship Id="rId4" Type="http://schemas.openxmlformats.org/officeDocument/2006/relationships/tags" Target="../tags/tag380.xml"/><Relationship Id="rId180" Type="http://schemas.openxmlformats.org/officeDocument/2006/relationships/tags" Target="../tags/tag556.xml"/><Relationship Id="rId215" Type="http://schemas.openxmlformats.org/officeDocument/2006/relationships/tags" Target="../tags/tag591.xml"/><Relationship Id="rId236" Type="http://schemas.openxmlformats.org/officeDocument/2006/relationships/tags" Target="../tags/tag612.xml"/><Relationship Id="rId257" Type="http://schemas.openxmlformats.org/officeDocument/2006/relationships/tags" Target="../tags/tag633.xml"/><Relationship Id="rId278" Type="http://schemas.openxmlformats.org/officeDocument/2006/relationships/tags" Target="../tags/tag654.xml"/><Relationship Id="rId303" Type="http://schemas.openxmlformats.org/officeDocument/2006/relationships/tags" Target="../tags/tag679.xml"/><Relationship Id="rId42" Type="http://schemas.openxmlformats.org/officeDocument/2006/relationships/tags" Target="../tags/tag418.xml"/><Relationship Id="rId84" Type="http://schemas.openxmlformats.org/officeDocument/2006/relationships/tags" Target="../tags/tag460.xml"/><Relationship Id="rId138" Type="http://schemas.openxmlformats.org/officeDocument/2006/relationships/tags" Target="../tags/tag514.xml"/><Relationship Id="rId345" Type="http://schemas.openxmlformats.org/officeDocument/2006/relationships/tags" Target="../tags/tag721.xml"/><Relationship Id="rId191" Type="http://schemas.openxmlformats.org/officeDocument/2006/relationships/tags" Target="../tags/tag567.xml"/><Relationship Id="rId205" Type="http://schemas.openxmlformats.org/officeDocument/2006/relationships/tags" Target="../tags/tag581.xml"/><Relationship Id="rId247" Type="http://schemas.openxmlformats.org/officeDocument/2006/relationships/tags" Target="../tags/tag623.xml"/><Relationship Id="rId107" Type="http://schemas.openxmlformats.org/officeDocument/2006/relationships/tags" Target="../tags/tag483.xml"/><Relationship Id="rId289" Type="http://schemas.openxmlformats.org/officeDocument/2006/relationships/tags" Target="../tags/tag665.xml"/><Relationship Id="rId11" Type="http://schemas.openxmlformats.org/officeDocument/2006/relationships/tags" Target="../tags/tag387.xml"/><Relationship Id="rId53" Type="http://schemas.openxmlformats.org/officeDocument/2006/relationships/tags" Target="../tags/tag429.xml"/><Relationship Id="rId149" Type="http://schemas.openxmlformats.org/officeDocument/2006/relationships/tags" Target="../tags/tag525.xml"/><Relationship Id="rId314" Type="http://schemas.openxmlformats.org/officeDocument/2006/relationships/tags" Target="../tags/tag690.xml"/><Relationship Id="rId95" Type="http://schemas.openxmlformats.org/officeDocument/2006/relationships/tags" Target="../tags/tag471.xml"/><Relationship Id="rId160" Type="http://schemas.openxmlformats.org/officeDocument/2006/relationships/tags" Target="../tags/tag536.xml"/><Relationship Id="rId216" Type="http://schemas.openxmlformats.org/officeDocument/2006/relationships/tags" Target="../tags/tag592.xml"/><Relationship Id="rId258" Type="http://schemas.openxmlformats.org/officeDocument/2006/relationships/tags" Target="../tags/tag634.xml"/><Relationship Id="rId22" Type="http://schemas.openxmlformats.org/officeDocument/2006/relationships/tags" Target="../tags/tag398.xml"/><Relationship Id="rId64" Type="http://schemas.openxmlformats.org/officeDocument/2006/relationships/tags" Target="../tags/tag440.xml"/><Relationship Id="rId118" Type="http://schemas.openxmlformats.org/officeDocument/2006/relationships/tags" Target="../tags/tag494.xml"/><Relationship Id="rId325" Type="http://schemas.openxmlformats.org/officeDocument/2006/relationships/tags" Target="../tags/tag701.xml"/><Relationship Id="rId171" Type="http://schemas.openxmlformats.org/officeDocument/2006/relationships/tags" Target="../tags/tag547.xml"/><Relationship Id="rId227" Type="http://schemas.openxmlformats.org/officeDocument/2006/relationships/tags" Target="../tags/tag603.xml"/><Relationship Id="rId269" Type="http://schemas.openxmlformats.org/officeDocument/2006/relationships/tags" Target="../tags/tag645.xml"/><Relationship Id="rId33" Type="http://schemas.openxmlformats.org/officeDocument/2006/relationships/tags" Target="../tags/tag409.xml"/><Relationship Id="rId129" Type="http://schemas.openxmlformats.org/officeDocument/2006/relationships/tags" Target="../tags/tag505.xml"/><Relationship Id="rId280" Type="http://schemas.openxmlformats.org/officeDocument/2006/relationships/tags" Target="../tags/tag656.xml"/><Relationship Id="rId336" Type="http://schemas.openxmlformats.org/officeDocument/2006/relationships/tags" Target="../tags/tag712.xml"/><Relationship Id="rId75" Type="http://schemas.openxmlformats.org/officeDocument/2006/relationships/tags" Target="../tags/tag451.xml"/><Relationship Id="rId140" Type="http://schemas.openxmlformats.org/officeDocument/2006/relationships/tags" Target="../tags/tag516.xml"/><Relationship Id="rId182" Type="http://schemas.openxmlformats.org/officeDocument/2006/relationships/tags" Target="../tags/tag558.xml"/><Relationship Id="rId6" Type="http://schemas.openxmlformats.org/officeDocument/2006/relationships/tags" Target="../tags/tag382.xml"/><Relationship Id="rId238" Type="http://schemas.openxmlformats.org/officeDocument/2006/relationships/tags" Target="../tags/tag614.xml"/><Relationship Id="rId291" Type="http://schemas.openxmlformats.org/officeDocument/2006/relationships/tags" Target="../tags/tag667.xml"/><Relationship Id="rId305" Type="http://schemas.openxmlformats.org/officeDocument/2006/relationships/tags" Target="../tags/tag681.xml"/><Relationship Id="rId347" Type="http://schemas.openxmlformats.org/officeDocument/2006/relationships/slideLayout" Target="../slideLayouts/slideLayout23.xml"/><Relationship Id="rId44" Type="http://schemas.openxmlformats.org/officeDocument/2006/relationships/tags" Target="../tags/tag420.xml"/><Relationship Id="rId86" Type="http://schemas.openxmlformats.org/officeDocument/2006/relationships/tags" Target="../tags/tag462.xml"/><Relationship Id="rId151" Type="http://schemas.openxmlformats.org/officeDocument/2006/relationships/tags" Target="../tags/tag527.xml"/><Relationship Id="rId193" Type="http://schemas.openxmlformats.org/officeDocument/2006/relationships/tags" Target="../tags/tag569.xml"/><Relationship Id="rId207" Type="http://schemas.openxmlformats.org/officeDocument/2006/relationships/tags" Target="../tags/tag583.xml"/><Relationship Id="rId249" Type="http://schemas.openxmlformats.org/officeDocument/2006/relationships/tags" Target="../tags/tag625.xml"/><Relationship Id="rId13" Type="http://schemas.openxmlformats.org/officeDocument/2006/relationships/tags" Target="../tags/tag389.xml"/><Relationship Id="rId109" Type="http://schemas.openxmlformats.org/officeDocument/2006/relationships/tags" Target="../tags/tag485.xml"/><Relationship Id="rId260" Type="http://schemas.openxmlformats.org/officeDocument/2006/relationships/tags" Target="../tags/tag636.xml"/><Relationship Id="rId316" Type="http://schemas.openxmlformats.org/officeDocument/2006/relationships/tags" Target="../tags/tag692.xml"/><Relationship Id="rId55" Type="http://schemas.openxmlformats.org/officeDocument/2006/relationships/tags" Target="../tags/tag431.xml"/><Relationship Id="rId97" Type="http://schemas.openxmlformats.org/officeDocument/2006/relationships/tags" Target="../tags/tag473.xml"/><Relationship Id="rId120" Type="http://schemas.openxmlformats.org/officeDocument/2006/relationships/tags" Target="../tags/tag496.xml"/><Relationship Id="rId162" Type="http://schemas.openxmlformats.org/officeDocument/2006/relationships/tags" Target="../tags/tag538.xml"/><Relationship Id="rId218" Type="http://schemas.openxmlformats.org/officeDocument/2006/relationships/tags" Target="../tags/tag594.xml"/><Relationship Id="rId271" Type="http://schemas.openxmlformats.org/officeDocument/2006/relationships/tags" Target="../tags/tag647.xml"/><Relationship Id="rId24" Type="http://schemas.openxmlformats.org/officeDocument/2006/relationships/tags" Target="../tags/tag400.xml"/><Relationship Id="rId66" Type="http://schemas.openxmlformats.org/officeDocument/2006/relationships/tags" Target="../tags/tag442.xml"/><Relationship Id="rId131" Type="http://schemas.openxmlformats.org/officeDocument/2006/relationships/tags" Target="../tags/tag507.xml"/><Relationship Id="rId327" Type="http://schemas.openxmlformats.org/officeDocument/2006/relationships/tags" Target="../tags/tag703.xml"/><Relationship Id="rId173" Type="http://schemas.openxmlformats.org/officeDocument/2006/relationships/tags" Target="../tags/tag549.xml"/><Relationship Id="rId229" Type="http://schemas.openxmlformats.org/officeDocument/2006/relationships/tags" Target="../tags/tag605.xml"/><Relationship Id="rId240" Type="http://schemas.openxmlformats.org/officeDocument/2006/relationships/tags" Target="../tags/tag6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730.xml"/><Relationship Id="rId13" Type="http://schemas.openxmlformats.org/officeDocument/2006/relationships/tags" Target="../tags/tag735.xml"/><Relationship Id="rId18" Type="http://schemas.openxmlformats.org/officeDocument/2006/relationships/tags" Target="../tags/tag740.xml"/><Relationship Id="rId3" Type="http://schemas.openxmlformats.org/officeDocument/2006/relationships/tags" Target="../tags/tag725.xml"/><Relationship Id="rId7" Type="http://schemas.openxmlformats.org/officeDocument/2006/relationships/tags" Target="../tags/tag729.xml"/><Relationship Id="rId12" Type="http://schemas.openxmlformats.org/officeDocument/2006/relationships/tags" Target="../tags/tag734.xml"/><Relationship Id="rId17" Type="http://schemas.openxmlformats.org/officeDocument/2006/relationships/tags" Target="../tags/tag739.xml"/><Relationship Id="rId2" Type="http://schemas.openxmlformats.org/officeDocument/2006/relationships/tags" Target="../tags/tag724.xml"/><Relationship Id="rId16" Type="http://schemas.openxmlformats.org/officeDocument/2006/relationships/tags" Target="../tags/tag738.xml"/><Relationship Id="rId1" Type="http://schemas.openxmlformats.org/officeDocument/2006/relationships/tags" Target="../tags/tag723.xml"/><Relationship Id="rId6" Type="http://schemas.openxmlformats.org/officeDocument/2006/relationships/tags" Target="../tags/tag728.xml"/><Relationship Id="rId11" Type="http://schemas.openxmlformats.org/officeDocument/2006/relationships/tags" Target="../tags/tag733.xml"/><Relationship Id="rId5" Type="http://schemas.openxmlformats.org/officeDocument/2006/relationships/tags" Target="../tags/tag727.xml"/><Relationship Id="rId15" Type="http://schemas.openxmlformats.org/officeDocument/2006/relationships/tags" Target="../tags/tag737.xml"/><Relationship Id="rId10" Type="http://schemas.openxmlformats.org/officeDocument/2006/relationships/tags" Target="../tags/tag732.xml"/><Relationship Id="rId19" Type="http://schemas.openxmlformats.org/officeDocument/2006/relationships/slideLayout" Target="../slideLayouts/slideLayout23.xml"/><Relationship Id="rId4" Type="http://schemas.openxmlformats.org/officeDocument/2006/relationships/tags" Target="../tags/tag726.xml"/><Relationship Id="rId9" Type="http://schemas.openxmlformats.org/officeDocument/2006/relationships/tags" Target="../tags/tag731.xml"/><Relationship Id="rId14" Type="http://schemas.openxmlformats.org/officeDocument/2006/relationships/tags" Target="../tags/tag73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48.xml"/><Relationship Id="rId13" Type="http://schemas.openxmlformats.org/officeDocument/2006/relationships/tags" Target="../tags/tag753.xml"/><Relationship Id="rId18" Type="http://schemas.openxmlformats.org/officeDocument/2006/relationships/tags" Target="../tags/tag758.xml"/><Relationship Id="rId3" Type="http://schemas.openxmlformats.org/officeDocument/2006/relationships/tags" Target="../tags/tag743.xml"/><Relationship Id="rId7" Type="http://schemas.openxmlformats.org/officeDocument/2006/relationships/tags" Target="../tags/tag747.xml"/><Relationship Id="rId12" Type="http://schemas.openxmlformats.org/officeDocument/2006/relationships/tags" Target="../tags/tag752.xml"/><Relationship Id="rId17" Type="http://schemas.openxmlformats.org/officeDocument/2006/relationships/tags" Target="../tags/tag757.xml"/><Relationship Id="rId2" Type="http://schemas.openxmlformats.org/officeDocument/2006/relationships/tags" Target="../tags/tag742.xml"/><Relationship Id="rId16" Type="http://schemas.openxmlformats.org/officeDocument/2006/relationships/tags" Target="../tags/tag756.xml"/><Relationship Id="rId1" Type="http://schemas.openxmlformats.org/officeDocument/2006/relationships/tags" Target="../tags/tag741.xml"/><Relationship Id="rId6" Type="http://schemas.openxmlformats.org/officeDocument/2006/relationships/tags" Target="../tags/tag746.xml"/><Relationship Id="rId11" Type="http://schemas.openxmlformats.org/officeDocument/2006/relationships/tags" Target="../tags/tag751.xml"/><Relationship Id="rId5" Type="http://schemas.openxmlformats.org/officeDocument/2006/relationships/tags" Target="../tags/tag745.xml"/><Relationship Id="rId15" Type="http://schemas.openxmlformats.org/officeDocument/2006/relationships/tags" Target="../tags/tag755.xml"/><Relationship Id="rId10" Type="http://schemas.openxmlformats.org/officeDocument/2006/relationships/tags" Target="../tags/tag750.xml"/><Relationship Id="rId19" Type="http://schemas.openxmlformats.org/officeDocument/2006/relationships/slideLayout" Target="../slideLayouts/slideLayout30.xml"/><Relationship Id="rId4" Type="http://schemas.openxmlformats.org/officeDocument/2006/relationships/tags" Target="../tags/tag744.xml"/><Relationship Id="rId9" Type="http://schemas.openxmlformats.org/officeDocument/2006/relationships/tags" Target="../tags/tag749.xml"/><Relationship Id="rId14" Type="http://schemas.openxmlformats.org/officeDocument/2006/relationships/tags" Target="../tags/tag75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13" Type="http://schemas.openxmlformats.org/officeDocument/2006/relationships/tags" Target="../tags/tag771.xml"/><Relationship Id="rId18" Type="http://schemas.openxmlformats.org/officeDocument/2006/relationships/tags" Target="../tags/tag776.xml"/><Relationship Id="rId3" Type="http://schemas.openxmlformats.org/officeDocument/2006/relationships/tags" Target="../tags/tag761.xml"/><Relationship Id="rId21" Type="http://schemas.openxmlformats.org/officeDocument/2006/relationships/slideLayout" Target="../slideLayouts/slideLayout30.xml"/><Relationship Id="rId7" Type="http://schemas.openxmlformats.org/officeDocument/2006/relationships/tags" Target="../tags/tag765.xml"/><Relationship Id="rId12" Type="http://schemas.openxmlformats.org/officeDocument/2006/relationships/tags" Target="../tags/tag770.xml"/><Relationship Id="rId17" Type="http://schemas.openxmlformats.org/officeDocument/2006/relationships/tags" Target="../tags/tag775.xml"/><Relationship Id="rId2" Type="http://schemas.openxmlformats.org/officeDocument/2006/relationships/tags" Target="../tags/tag760.xml"/><Relationship Id="rId16" Type="http://schemas.openxmlformats.org/officeDocument/2006/relationships/tags" Target="../tags/tag774.xml"/><Relationship Id="rId20" Type="http://schemas.openxmlformats.org/officeDocument/2006/relationships/tags" Target="../tags/tag778.xml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tags" Target="../tags/tag769.xml"/><Relationship Id="rId5" Type="http://schemas.openxmlformats.org/officeDocument/2006/relationships/tags" Target="../tags/tag763.xml"/><Relationship Id="rId15" Type="http://schemas.openxmlformats.org/officeDocument/2006/relationships/tags" Target="../tags/tag773.xml"/><Relationship Id="rId10" Type="http://schemas.openxmlformats.org/officeDocument/2006/relationships/tags" Target="../tags/tag768.xml"/><Relationship Id="rId19" Type="http://schemas.openxmlformats.org/officeDocument/2006/relationships/tags" Target="../tags/tag777.xml"/><Relationship Id="rId4" Type="http://schemas.openxmlformats.org/officeDocument/2006/relationships/tags" Target="../tags/tag762.xml"/><Relationship Id="rId9" Type="http://schemas.openxmlformats.org/officeDocument/2006/relationships/tags" Target="../tags/tag767.xml"/><Relationship Id="rId14" Type="http://schemas.openxmlformats.org/officeDocument/2006/relationships/tags" Target="../tags/tag77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86.xml"/><Relationship Id="rId13" Type="http://schemas.openxmlformats.org/officeDocument/2006/relationships/tags" Target="../tags/tag791.xml"/><Relationship Id="rId18" Type="http://schemas.openxmlformats.org/officeDocument/2006/relationships/tags" Target="../tags/tag796.xml"/><Relationship Id="rId26" Type="http://schemas.openxmlformats.org/officeDocument/2006/relationships/tags" Target="../tags/tag804.xml"/><Relationship Id="rId3" Type="http://schemas.openxmlformats.org/officeDocument/2006/relationships/tags" Target="../tags/tag781.xml"/><Relationship Id="rId21" Type="http://schemas.openxmlformats.org/officeDocument/2006/relationships/tags" Target="../tags/tag799.xml"/><Relationship Id="rId7" Type="http://schemas.openxmlformats.org/officeDocument/2006/relationships/tags" Target="../tags/tag785.xml"/><Relationship Id="rId12" Type="http://schemas.openxmlformats.org/officeDocument/2006/relationships/tags" Target="../tags/tag790.xml"/><Relationship Id="rId17" Type="http://schemas.openxmlformats.org/officeDocument/2006/relationships/tags" Target="../tags/tag795.xml"/><Relationship Id="rId25" Type="http://schemas.openxmlformats.org/officeDocument/2006/relationships/tags" Target="../tags/tag803.xml"/><Relationship Id="rId2" Type="http://schemas.openxmlformats.org/officeDocument/2006/relationships/tags" Target="../tags/tag780.xml"/><Relationship Id="rId16" Type="http://schemas.openxmlformats.org/officeDocument/2006/relationships/tags" Target="../tags/tag794.xml"/><Relationship Id="rId20" Type="http://schemas.openxmlformats.org/officeDocument/2006/relationships/tags" Target="../tags/tag798.xml"/><Relationship Id="rId29" Type="http://schemas.openxmlformats.org/officeDocument/2006/relationships/tags" Target="../tags/tag807.xml"/><Relationship Id="rId1" Type="http://schemas.openxmlformats.org/officeDocument/2006/relationships/tags" Target="../tags/tag779.xml"/><Relationship Id="rId6" Type="http://schemas.openxmlformats.org/officeDocument/2006/relationships/tags" Target="../tags/tag784.xml"/><Relationship Id="rId11" Type="http://schemas.openxmlformats.org/officeDocument/2006/relationships/tags" Target="../tags/tag789.xml"/><Relationship Id="rId24" Type="http://schemas.openxmlformats.org/officeDocument/2006/relationships/tags" Target="../tags/tag802.xml"/><Relationship Id="rId32" Type="http://schemas.openxmlformats.org/officeDocument/2006/relationships/slideLayout" Target="../slideLayouts/slideLayout30.xml"/><Relationship Id="rId5" Type="http://schemas.openxmlformats.org/officeDocument/2006/relationships/tags" Target="../tags/tag783.xml"/><Relationship Id="rId15" Type="http://schemas.openxmlformats.org/officeDocument/2006/relationships/tags" Target="../tags/tag793.xml"/><Relationship Id="rId23" Type="http://schemas.openxmlformats.org/officeDocument/2006/relationships/tags" Target="../tags/tag801.xml"/><Relationship Id="rId28" Type="http://schemas.openxmlformats.org/officeDocument/2006/relationships/tags" Target="../tags/tag806.xml"/><Relationship Id="rId10" Type="http://schemas.openxmlformats.org/officeDocument/2006/relationships/tags" Target="../tags/tag788.xml"/><Relationship Id="rId19" Type="http://schemas.openxmlformats.org/officeDocument/2006/relationships/tags" Target="../tags/tag797.xml"/><Relationship Id="rId31" Type="http://schemas.openxmlformats.org/officeDocument/2006/relationships/tags" Target="../tags/tag809.xml"/><Relationship Id="rId4" Type="http://schemas.openxmlformats.org/officeDocument/2006/relationships/tags" Target="../tags/tag782.xml"/><Relationship Id="rId9" Type="http://schemas.openxmlformats.org/officeDocument/2006/relationships/tags" Target="../tags/tag787.xml"/><Relationship Id="rId14" Type="http://schemas.openxmlformats.org/officeDocument/2006/relationships/tags" Target="../tags/tag792.xml"/><Relationship Id="rId22" Type="http://schemas.openxmlformats.org/officeDocument/2006/relationships/tags" Target="../tags/tag800.xml"/><Relationship Id="rId27" Type="http://schemas.openxmlformats.org/officeDocument/2006/relationships/tags" Target="../tags/tag805.xml"/><Relationship Id="rId30" Type="http://schemas.openxmlformats.org/officeDocument/2006/relationships/tags" Target="../tags/tag80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817.xml"/><Relationship Id="rId13" Type="http://schemas.openxmlformats.org/officeDocument/2006/relationships/tags" Target="../tags/tag822.xml"/><Relationship Id="rId3" Type="http://schemas.openxmlformats.org/officeDocument/2006/relationships/tags" Target="../tags/tag812.xml"/><Relationship Id="rId7" Type="http://schemas.openxmlformats.org/officeDocument/2006/relationships/tags" Target="../tags/tag816.xml"/><Relationship Id="rId12" Type="http://schemas.openxmlformats.org/officeDocument/2006/relationships/tags" Target="../tags/tag821.xml"/><Relationship Id="rId2" Type="http://schemas.openxmlformats.org/officeDocument/2006/relationships/tags" Target="../tags/tag811.xml"/><Relationship Id="rId1" Type="http://schemas.openxmlformats.org/officeDocument/2006/relationships/tags" Target="../tags/tag810.xml"/><Relationship Id="rId6" Type="http://schemas.openxmlformats.org/officeDocument/2006/relationships/tags" Target="../tags/tag815.xml"/><Relationship Id="rId11" Type="http://schemas.openxmlformats.org/officeDocument/2006/relationships/tags" Target="../tags/tag820.xml"/><Relationship Id="rId5" Type="http://schemas.openxmlformats.org/officeDocument/2006/relationships/tags" Target="../tags/tag814.xml"/><Relationship Id="rId15" Type="http://schemas.openxmlformats.org/officeDocument/2006/relationships/slideLayout" Target="../slideLayouts/slideLayout30.xml"/><Relationship Id="rId10" Type="http://schemas.openxmlformats.org/officeDocument/2006/relationships/tags" Target="../tags/tag819.xml"/><Relationship Id="rId4" Type="http://schemas.openxmlformats.org/officeDocument/2006/relationships/tags" Target="../tags/tag813.xml"/><Relationship Id="rId9" Type="http://schemas.openxmlformats.org/officeDocument/2006/relationships/tags" Target="../tags/tag818.xml"/><Relationship Id="rId14" Type="http://schemas.openxmlformats.org/officeDocument/2006/relationships/tags" Target="../tags/tag8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31.xml"/><Relationship Id="rId13" Type="http://schemas.openxmlformats.org/officeDocument/2006/relationships/tags" Target="../tags/tag836.xml"/><Relationship Id="rId18" Type="http://schemas.openxmlformats.org/officeDocument/2006/relationships/tags" Target="../tags/tag841.xml"/><Relationship Id="rId3" Type="http://schemas.openxmlformats.org/officeDocument/2006/relationships/tags" Target="../tags/tag826.xml"/><Relationship Id="rId7" Type="http://schemas.openxmlformats.org/officeDocument/2006/relationships/tags" Target="../tags/tag830.xml"/><Relationship Id="rId12" Type="http://schemas.openxmlformats.org/officeDocument/2006/relationships/tags" Target="../tags/tag835.xml"/><Relationship Id="rId17" Type="http://schemas.openxmlformats.org/officeDocument/2006/relationships/tags" Target="../tags/tag840.xml"/><Relationship Id="rId2" Type="http://schemas.openxmlformats.org/officeDocument/2006/relationships/tags" Target="../tags/tag825.xml"/><Relationship Id="rId16" Type="http://schemas.openxmlformats.org/officeDocument/2006/relationships/tags" Target="../tags/tag839.xml"/><Relationship Id="rId20" Type="http://schemas.openxmlformats.org/officeDocument/2006/relationships/slideLayout" Target="../slideLayouts/slideLayout30.xml"/><Relationship Id="rId1" Type="http://schemas.openxmlformats.org/officeDocument/2006/relationships/tags" Target="../tags/tag824.xml"/><Relationship Id="rId6" Type="http://schemas.openxmlformats.org/officeDocument/2006/relationships/tags" Target="../tags/tag829.xml"/><Relationship Id="rId11" Type="http://schemas.openxmlformats.org/officeDocument/2006/relationships/tags" Target="../tags/tag834.xml"/><Relationship Id="rId5" Type="http://schemas.openxmlformats.org/officeDocument/2006/relationships/tags" Target="../tags/tag828.xml"/><Relationship Id="rId15" Type="http://schemas.openxmlformats.org/officeDocument/2006/relationships/tags" Target="../tags/tag838.xml"/><Relationship Id="rId10" Type="http://schemas.openxmlformats.org/officeDocument/2006/relationships/tags" Target="../tags/tag833.xml"/><Relationship Id="rId19" Type="http://schemas.openxmlformats.org/officeDocument/2006/relationships/tags" Target="../tags/tag842.xml"/><Relationship Id="rId4" Type="http://schemas.openxmlformats.org/officeDocument/2006/relationships/tags" Target="../tags/tag827.xml"/><Relationship Id="rId9" Type="http://schemas.openxmlformats.org/officeDocument/2006/relationships/tags" Target="../tags/tag832.xml"/><Relationship Id="rId14" Type="http://schemas.openxmlformats.org/officeDocument/2006/relationships/tags" Target="../tags/tag83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850.xml"/><Relationship Id="rId13" Type="http://schemas.openxmlformats.org/officeDocument/2006/relationships/tags" Target="../tags/tag855.xml"/><Relationship Id="rId18" Type="http://schemas.openxmlformats.org/officeDocument/2006/relationships/slideLayout" Target="../slideLayouts/slideLayout30.xml"/><Relationship Id="rId3" Type="http://schemas.openxmlformats.org/officeDocument/2006/relationships/tags" Target="../tags/tag845.xml"/><Relationship Id="rId7" Type="http://schemas.openxmlformats.org/officeDocument/2006/relationships/tags" Target="../tags/tag849.xml"/><Relationship Id="rId12" Type="http://schemas.openxmlformats.org/officeDocument/2006/relationships/tags" Target="../tags/tag854.xml"/><Relationship Id="rId17" Type="http://schemas.openxmlformats.org/officeDocument/2006/relationships/tags" Target="../tags/tag859.xml"/><Relationship Id="rId2" Type="http://schemas.openxmlformats.org/officeDocument/2006/relationships/tags" Target="../tags/tag844.xml"/><Relationship Id="rId16" Type="http://schemas.openxmlformats.org/officeDocument/2006/relationships/tags" Target="../tags/tag858.xml"/><Relationship Id="rId1" Type="http://schemas.openxmlformats.org/officeDocument/2006/relationships/tags" Target="../tags/tag843.xml"/><Relationship Id="rId6" Type="http://schemas.openxmlformats.org/officeDocument/2006/relationships/tags" Target="../tags/tag848.xml"/><Relationship Id="rId11" Type="http://schemas.openxmlformats.org/officeDocument/2006/relationships/tags" Target="../tags/tag853.xml"/><Relationship Id="rId5" Type="http://schemas.openxmlformats.org/officeDocument/2006/relationships/tags" Target="../tags/tag847.xml"/><Relationship Id="rId15" Type="http://schemas.openxmlformats.org/officeDocument/2006/relationships/tags" Target="../tags/tag857.xml"/><Relationship Id="rId10" Type="http://schemas.openxmlformats.org/officeDocument/2006/relationships/tags" Target="../tags/tag852.xml"/><Relationship Id="rId19" Type="http://schemas.openxmlformats.org/officeDocument/2006/relationships/image" Target="../media/image8.jpeg"/><Relationship Id="rId4" Type="http://schemas.openxmlformats.org/officeDocument/2006/relationships/tags" Target="../tags/tag846.xml"/><Relationship Id="rId9" Type="http://schemas.openxmlformats.org/officeDocument/2006/relationships/tags" Target="../tags/tag851.xml"/><Relationship Id="rId14" Type="http://schemas.openxmlformats.org/officeDocument/2006/relationships/tags" Target="../tags/tag85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62.xml"/><Relationship Id="rId7" Type="http://schemas.openxmlformats.org/officeDocument/2006/relationships/image" Target="../media/image3.jpeg"/><Relationship Id="rId2" Type="http://schemas.openxmlformats.org/officeDocument/2006/relationships/tags" Target="../tags/tag861.xml"/><Relationship Id="rId1" Type="http://schemas.openxmlformats.org/officeDocument/2006/relationships/tags" Target="../tags/tag860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864.xml"/><Relationship Id="rId4" Type="http://schemas.openxmlformats.org/officeDocument/2006/relationships/tags" Target="../tags/tag863.xml"/><Relationship Id="rId9" Type="http://schemas.openxmlformats.org/officeDocument/2006/relationships/image" Target="../media/image4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34" Type="http://schemas.openxmlformats.org/officeDocument/2006/relationships/notesSlide" Target="../notesSlides/notesSlide1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slideLayout" Target="../slideLayouts/slideLayout9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8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jpeg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8.jpeg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5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tags" Target="../tags/tag83.xml"/><Relationship Id="rId21" Type="http://schemas.openxmlformats.org/officeDocument/2006/relationships/tags" Target="../tags/tag78.xml"/><Relationship Id="rId34" Type="http://schemas.openxmlformats.org/officeDocument/2006/relationships/tags" Target="../tags/tag91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tags" Target="../tags/tag82.xml"/><Relationship Id="rId33" Type="http://schemas.openxmlformats.org/officeDocument/2006/relationships/tags" Target="../tags/tag90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29" Type="http://schemas.openxmlformats.org/officeDocument/2006/relationships/tags" Target="../tags/tag86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32" Type="http://schemas.openxmlformats.org/officeDocument/2006/relationships/tags" Target="../tags/tag89.xml"/><Relationship Id="rId37" Type="http://schemas.openxmlformats.org/officeDocument/2006/relationships/slideLayout" Target="../slideLayouts/slideLayout16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tags" Target="../tags/tag85.xml"/><Relationship Id="rId36" Type="http://schemas.openxmlformats.org/officeDocument/2006/relationships/tags" Target="../tags/tag93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31" Type="http://schemas.openxmlformats.org/officeDocument/2006/relationships/tags" Target="../tags/tag88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tags" Target="../tags/tag84.xml"/><Relationship Id="rId30" Type="http://schemas.openxmlformats.org/officeDocument/2006/relationships/tags" Target="../tags/tag87.xml"/><Relationship Id="rId35" Type="http://schemas.openxmlformats.org/officeDocument/2006/relationships/tags" Target="../tags/tag92.xml"/><Relationship Id="rId8" Type="http://schemas.openxmlformats.org/officeDocument/2006/relationships/tags" Target="../tags/tag65.xml"/><Relationship Id="rId3" Type="http://schemas.openxmlformats.org/officeDocument/2006/relationships/tags" Target="../tags/tag6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slideLayout" Target="../slideLayouts/slideLayout16.xml"/><Relationship Id="rId5" Type="http://schemas.openxmlformats.org/officeDocument/2006/relationships/tags" Target="../tags/tag9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Layout" Target="../slideLayouts/slideLayout16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>
            <p:custDataLst>
              <p:tags r:id="rId4"/>
            </p:custDataLst>
          </p:nvPr>
        </p:nvSpPr>
        <p:spPr>
          <a:xfrm>
            <a:off x="0" y="2496942"/>
            <a:ext cx="12192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SEARCH ON THE STRUCTURE OF OFFLINE HANDWRITTEN SIGNATURE VERIFICATION MODELS BASED ON TRANSFORMER</a:t>
            </a:r>
            <a:endParaRPr lang="zh-CN" altLang="en-US" sz="28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>
            <p:custDataLst>
              <p:tags r:id="rId5"/>
            </p:custDataLst>
          </p:nvPr>
        </p:nvSpPr>
        <p:spPr>
          <a:xfrm>
            <a:off x="2032450" y="5098643"/>
            <a:ext cx="8127099" cy="11344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olidFill>
                  <a:srgbClr val="2C7AC4"/>
                </a:solidFill>
              </a:rPr>
              <a:t>Speaker</a:t>
            </a:r>
            <a:r>
              <a:rPr lang="zh-CN" altLang="en-US" sz="2400" dirty="0">
                <a:solidFill>
                  <a:srgbClr val="2C7AC4"/>
                </a:solidFill>
              </a:rPr>
              <a:t>：</a:t>
            </a:r>
            <a:r>
              <a:rPr lang="en-US" altLang="zh-CN" sz="2400" dirty="0" err="1">
                <a:solidFill>
                  <a:srgbClr val="2C7AC4"/>
                </a:solidFill>
              </a:rPr>
              <a:t>Mingchen</a:t>
            </a:r>
            <a:r>
              <a:rPr lang="en-US" altLang="zh-CN" sz="2400" dirty="0">
                <a:solidFill>
                  <a:srgbClr val="2C7AC4"/>
                </a:solidFill>
              </a:rPr>
              <a:t> Wang     Supervisor: Xin Liu     </a:t>
            </a:r>
          </a:p>
          <a:p>
            <a:pPr algn="ctr">
              <a:lnSpc>
                <a:spcPct val="150000"/>
              </a:lnSpc>
            </a:pPr>
            <a:r>
              <a:rPr lang="en-US" altLang="zh-CN" sz="2400" dirty="0">
                <a:solidFill>
                  <a:srgbClr val="2C7AC4"/>
                </a:solidFill>
              </a:rPr>
              <a:t>Date</a:t>
            </a:r>
            <a:r>
              <a:rPr lang="zh-CN" altLang="en-US" sz="2400" dirty="0">
                <a:solidFill>
                  <a:srgbClr val="2C7AC4"/>
                </a:solidFill>
              </a:rPr>
              <a:t>：</a:t>
            </a:r>
            <a:r>
              <a:rPr lang="en-US" altLang="zh-CN" sz="2400" dirty="0">
                <a:solidFill>
                  <a:srgbClr val="2C7AC4"/>
                </a:solidFill>
              </a:rPr>
              <a:t>2024.11.13.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33529B9-0ADB-45D8-633E-A56CE294B58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0" y="3757854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ASTER OF SCIENCE IN INTELLIGENT TECHNOLOGY (MII) THESIS PROPOSAL</a:t>
            </a:r>
            <a:endParaRPr lang="zh-CN" altLang="en-US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29" name="椭圆 28"/>
          <p:cNvSpPr/>
          <p:nvPr>
            <p:custDataLst>
              <p:tags r:id="rId2"/>
            </p:custDataLst>
          </p:nvPr>
        </p:nvSpPr>
        <p:spPr>
          <a:xfrm>
            <a:off x="1838325" y="2382830"/>
            <a:ext cx="1936071" cy="1936070"/>
          </a:xfrm>
          <a:prstGeom prst="ellipse">
            <a:avLst/>
          </a:prstGeom>
          <a:solidFill>
            <a:schemeClr val="accent2"/>
          </a:solidFill>
          <a:ln w="19050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0" name="椭圆 29"/>
          <p:cNvSpPr/>
          <p:nvPr>
            <p:custDataLst>
              <p:tags r:id="rId3"/>
            </p:custDataLst>
          </p:nvPr>
        </p:nvSpPr>
        <p:spPr>
          <a:xfrm>
            <a:off x="5127965" y="2382830"/>
            <a:ext cx="1936071" cy="1936070"/>
          </a:xfrm>
          <a:prstGeom prst="ellipse">
            <a:avLst/>
          </a:prstGeom>
          <a:solidFill>
            <a:schemeClr val="accent5"/>
          </a:solidFill>
          <a:ln w="19050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1" name="椭圆 30"/>
          <p:cNvSpPr/>
          <p:nvPr>
            <p:custDataLst>
              <p:tags r:id="rId4"/>
            </p:custDataLst>
          </p:nvPr>
        </p:nvSpPr>
        <p:spPr>
          <a:xfrm>
            <a:off x="8417604" y="2382830"/>
            <a:ext cx="1936071" cy="1936070"/>
          </a:xfrm>
          <a:prstGeom prst="ellipse">
            <a:avLst/>
          </a:prstGeom>
          <a:solidFill>
            <a:schemeClr val="accent2"/>
          </a:solidFill>
          <a:ln w="19050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2" name="椭圆 31"/>
          <p:cNvSpPr/>
          <p:nvPr>
            <p:custDataLst>
              <p:tags r:id="rId5"/>
            </p:custDataLst>
          </p:nvPr>
        </p:nvSpPr>
        <p:spPr>
          <a:xfrm>
            <a:off x="3728296" y="2616655"/>
            <a:ext cx="1468420" cy="146842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lt1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3" name="椭圆 32"/>
          <p:cNvSpPr/>
          <p:nvPr>
            <p:custDataLst>
              <p:tags r:id="rId6"/>
            </p:custDataLst>
          </p:nvPr>
        </p:nvSpPr>
        <p:spPr>
          <a:xfrm>
            <a:off x="7006610" y="2616655"/>
            <a:ext cx="1468420" cy="146842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lt1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/>
          <p:cNvSpPr/>
          <p:nvPr>
            <p:custDataLst>
              <p:tags r:id="rId7"/>
            </p:custDataLst>
          </p:nvPr>
        </p:nvSpPr>
        <p:spPr>
          <a:xfrm>
            <a:off x="2405755" y="3031865"/>
            <a:ext cx="801208" cy="637999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" name="任意多边形: 形状 34"/>
          <p:cNvSpPr/>
          <p:nvPr>
            <p:custDataLst>
              <p:tags r:id="rId8"/>
            </p:custDataLst>
          </p:nvPr>
        </p:nvSpPr>
        <p:spPr>
          <a:xfrm>
            <a:off x="5799255" y="2950260"/>
            <a:ext cx="593489" cy="801210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/>
          <p:cNvSpPr/>
          <p:nvPr>
            <p:custDataLst>
              <p:tags r:id="rId9"/>
            </p:custDataLst>
          </p:nvPr>
        </p:nvSpPr>
        <p:spPr>
          <a:xfrm>
            <a:off x="8985035" y="2986028"/>
            <a:ext cx="801208" cy="729671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" name="箭头: V 形 36"/>
          <p:cNvSpPr/>
          <p:nvPr>
            <p:custDataLst>
              <p:tags r:id="rId10"/>
            </p:custDataLst>
          </p:nvPr>
        </p:nvSpPr>
        <p:spPr>
          <a:xfrm>
            <a:off x="4370767" y="3226985"/>
            <a:ext cx="183478" cy="247760"/>
          </a:xfrm>
          <a:prstGeom prst="chevron">
            <a:avLst>
              <a:gd name="adj" fmla="val 63071"/>
            </a:avLst>
          </a:prstGeom>
          <a:solidFill>
            <a:schemeClr val="dk1">
              <a:lumMod val="60000"/>
              <a:lumOff val="40000"/>
            </a:schemeClr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8" name="箭头: V 形 37"/>
          <p:cNvSpPr/>
          <p:nvPr>
            <p:custDataLst>
              <p:tags r:id="rId11"/>
            </p:custDataLst>
          </p:nvPr>
        </p:nvSpPr>
        <p:spPr>
          <a:xfrm>
            <a:off x="7649081" y="3226985"/>
            <a:ext cx="183478" cy="247760"/>
          </a:xfrm>
          <a:prstGeom prst="chevron">
            <a:avLst>
              <a:gd name="adj" fmla="val 63071"/>
            </a:avLst>
          </a:prstGeom>
          <a:solidFill>
            <a:schemeClr val="dk1">
              <a:lumMod val="60000"/>
              <a:lumOff val="40000"/>
            </a:schemeClr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9" name="矩形 48"/>
          <p:cNvSpPr/>
          <p:nvPr>
            <p:custDataLst>
              <p:tags r:id="rId12"/>
            </p:custDataLst>
          </p:nvPr>
        </p:nvSpPr>
        <p:spPr bwMode="auto">
          <a:xfrm>
            <a:off x="4449764" y="5217040"/>
            <a:ext cx="3292473" cy="846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50" name="文本框 49"/>
          <p:cNvSpPr txBox="1"/>
          <p:nvPr>
            <p:custDataLst>
              <p:tags r:id="rId13"/>
            </p:custDataLst>
          </p:nvPr>
        </p:nvSpPr>
        <p:spPr bwMode="auto">
          <a:xfrm>
            <a:off x="4449764" y="4785017"/>
            <a:ext cx="3292473" cy="43202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i="1">
                <a:solidFill>
                  <a:schemeClr val="dk1"/>
                </a:solidFill>
                <a:cs typeface="+mn-ea"/>
                <a:sym typeface="+mn-lt"/>
              </a:rPr>
              <a:t>02.Text here</a:t>
            </a:r>
            <a:endParaRPr lang="en-US" altLang="zh-CN" b="1" i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7" name="矩形 46"/>
          <p:cNvSpPr/>
          <p:nvPr>
            <p:custDataLst>
              <p:tags r:id="rId14"/>
            </p:custDataLst>
          </p:nvPr>
        </p:nvSpPr>
        <p:spPr bwMode="auto">
          <a:xfrm>
            <a:off x="965278" y="5217040"/>
            <a:ext cx="3292473" cy="846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48" name="文本框 47"/>
          <p:cNvSpPr txBox="1"/>
          <p:nvPr>
            <p:custDataLst>
              <p:tags r:id="rId15"/>
            </p:custDataLst>
          </p:nvPr>
        </p:nvSpPr>
        <p:spPr bwMode="auto">
          <a:xfrm>
            <a:off x="965278" y="4785017"/>
            <a:ext cx="3292473" cy="43202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i="1">
                <a:solidFill>
                  <a:schemeClr val="dk1"/>
                </a:solidFill>
                <a:cs typeface="+mn-ea"/>
                <a:sym typeface="+mn-lt"/>
              </a:rPr>
              <a:t>01.Text here</a:t>
            </a:r>
            <a:endParaRPr lang="en-US" altLang="zh-CN" b="1" i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5" name="矩形 44"/>
          <p:cNvSpPr/>
          <p:nvPr>
            <p:custDataLst>
              <p:tags r:id="rId16"/>
            </p:custDataLst>
          </p:nvPr>
        </p:nvSpPr>
        <p:spPr bwMode="auto">
          <a:xfrm>
            <a:off x="7934248" y="5217040"/>
            <a:ext cx="3292473" cy="846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46" name="文本框 45"/>
          <p:cNvSpPr txBox="1"/>
          <p:nvPr>
            <p:custDataLst>
              <p:tags r:id="rId17"/>
            </p:custDataLst>
          </p:nvPr>
        </p:nvSpPr>
        <p:spPr bwMode="auto">
          <a:xfrm>
            <a:off x="7934248" y="4785017"/>
            <a:ext cx="3292473" cy="43202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i="1">
                <a:solidFill>
                  <a:schemeClr val="dk1"/>
                </a:solidFill>
                <a:cs typeface="+mn-ea"/>
                <a:sym typeface="+mn-lt"/>
              </a:rPr>
              <a:t>03.Text here</a:t>
            </a:r>
            <a:endParaRPr lang="en-US" altLang="zh-CN" b="1" i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cxnSp>
        <p:nvCxnSpPr>
          <p:cNvPr id="42" name="直接连接符 41"/>
          <p:cNvCxnSpPr/>
          <p:nvPr>
            <p:custDataLst>
              <p:tags r:id="rId18"/>
            </p:custDataLst>
          </p:nvPr>
        </p:nvCxnSpPr>
        <p:spPr>
          <a:xfrm>
            <a:off x="4353758" y="4831660"/>
            <a:ext cx="0" cy="1185269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>
            <p:custDataLst>
              <p:tags r:id="rId19"/>
            </p:custDataLst>
          </p:nvPr>
        </p:nvCxnSpPr>
        <p:spPr>
          <a:xfrm>
            <a:off x="7838242" y="4831660"/>
            <a:ext cx="0" cy="1185269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>
            <p:custDataLst>
              <p:tags r:id="rId20"/>
            </p:custDataLst>
          </p:nvPr>
        </p:nvSpPr>
        <p:spPr>
          <a:xfrm>
            <a:off x="673102" y="1130300"/>
            <a:ext cx="10845795" cy="8485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en-US" sz="2800" b="1" dirty="0">
                <a:solidFill>
                  <a:schemeClr val="dk1"/>
                </a:solidFill>
                <a:cs typeface="+mn-ea"/>
                <a:sym typeface="+mn-lt"/>
              </a:rPr>
              <a:t>Unified fonts make reading more fluent.</a:t>
            </a:r>
          </a:p>
        </p:txBody>
      </p:sp>
    </p:spTree>
    <p:custDataLst>
      <p:tags r:id="rId1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cxnSp>
        <p:nvCxnSpPr>
          <p:cNvPr id="62" name="直接连接符 61"/>
          <p:cNvCxnSpPr>
            <a:stCxn id="64" idx="3"/>
            <a:endCxn id="73" idx="1"/>
          </p:cNvCxnSpPr>
          <p:nvPr>
            <p:custDataLst>
              <p:tags r:id="rId2"/>
            </p:custDataLst>
          </p:nvPr>
        </p:nvCxnSpPr>
        <p:spPr>
          <a:xfrm>
            <a:off x="3526066" y="2974727"/>
            <a:ext cx="5139868" cy="0"/>
          </a:xfrm>
          <a:prstGeom prst="line">
            <a:avLst/>
          </a:prstGeom>
          <a:ln w="1905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矩形 62"/>
          <p:cNvSpPr/>
          <p:nvPr>
            <p:custDataLst>
              <p:tags r:id="rId3"/>
            </p:custDataLst>
          </p:nvPr>
        </p:nvSpPr>
        <p:spPr>
          <a:xfrm>
            <a:off x="1731881" y="2335577"/>
            <a:ext cx="1794185" cy="41576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600" u="sng" dirty="0">
                <a:solidFill>
                  <a:schemeClr val="dk1"/>
                </a:solidFill>
                <a:cs typeface="+mn-ea"/>
                <a:sym typeface="+mn-lt"/>
              </a:rPr>
              <a:t>Text here. </a:t>
            </a:r>
          </a:p>
        </p:txBody>
      </p:sp>
      <p:sp>
        <p:nvSpPr>
          <p:cNvPr id="64" name="矩形: 圆角 63"/>
          <p:cNvSpPr/>
          <p:nvPr>
            <p:custDataLst>
              <p:tags r:id="rId4"/>
            </p:custDataLst>
          </p:nvPr>
        </p:nvSpPr>
        <p:spPr>
          <a:xfrm>
            <a:off x="1731881" y="2751345"/>
            <a:ext cx="1794185" cy="446763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 w="19050">
            <a:solidFill>
              <a:schemeClr val="accent3"/>
            </a:solidFill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endParaRPr lang="zh-CN" altLang="en-US" sz="16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65" name="文本框 64"/>
          <p:cNvSpPr txBox="1"/>
          <p:nvPr>
            <p:custDataLst>
              <p:tags r:id="rId5"/>
            </p:custDataLst>
          </p:nvPr>
        </p:nvSpPr>
        <p:spPr>
          <a:xfrm>
            <a:off x="1196159" y="3337025"/>
            <a:ext cx="2865629" cy="104171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66" name="文本框 65"/>
          <p:cNvSpPr txBox="1"/>
          <p:nvPr>
            <p:custDataLst>
              <p:tags r:id="rId6"/>
            </p:custDataLst>
          </p:nvPr>
        </p:nvSpPr>
        <p:spPr>
          <a:xfrm>
            <a:off x="1196159" y="4450663"/>
            <a:ext cx="2865629" cy="104171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67" name="任意多边形: 形状 66"/>
          <p:cNvSpPr/>
          <p:nvPr>
            <p:custDataLst>
              <p:tags r:id="rId7"/>
            </p:custDataLst>
          </p:nvPr>
        </p:nvSpPr>
        <p:spPr>
          <a:xfrm>
            <a:off x="2461485" y="2835289"/>
            <a:ext cx="334976" cy="278872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68" name="矩形 67"/>
          <p:cNvSpPr/>
          <p:nvPr>
            <p:custDataLst>
              <p:tags r:id="rId8"/>
            </p:custDataLst>
          </p:nvPr>
        </p:nvSpPr>
        <p:spPr>
          <a:xfrm>
            <a:off x="5198908" y="2335577"/>
            <a:ext cx="1794185" cy="41576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600" u="sng" dirty="0">
                <a:solidFill>
                  <a:schemeClr val="dk1"/>
                </a:solidFill>
                <a:cs typeface="+mn-ea"/>
                <a:sym typeface="+mn-lt"/>
              </a:rPr>
              <a:t>Text here. </a:t>
            </a:r>
          </a:p>
        </p:txBody>
      </p:sp>
      <p:sp>
        <p:nvSpPr>
          <p:cNvPr id="69" name="矩形: 圆角 68"/>
          <p:cNvSpPr/>
          <p:nvPr>
            <p:custDataLst>
              <p:tags r:id="rId9"/>
            </p:custDataLst>
          </p:nvPr>
        </p:nvSpPr>
        <p:spPr>
          <a:xfrm>
            <a:off x="5198908" y="2751345"/>
            <a:ext cx="1794185" cy="446763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 w="19050">
            <a:solidFill>
              <a:schemeClr val="accent3"/>
            </a:solidFill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endParaRPr lang="zh-CN" altLang="en-US" sz="16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70" name="文本框 69"/>
          <p:cNvSpPr txBox="1"/>
          <p:nvPr>
            <p:custDataLst>
              <p:tags r:id="rId10"/>
            </p:custDataLst>
          </p:nvPr>
        </p:nvSpPr>
        <p:spPr>
          <a:xfrm>
            <a:off x="4663186" y="3337025"/>
            <a:ext cx="2865629" cy="104171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71" name="任意多边形: 形状 70"/>
          <p:cNvSpPr/>
          <p:nvPr>
            <p:custDataLst>
              <p:tags r:id="rId11"/>
            </p:custDataLst>
          </p:nvPr>
        </p:nvSpPr>
        <p:spPr>
          <a:xfrm>
            <a:off x="5934016" y="2827205"/>
            <a:ext cx="323968" cy="295042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72" name="矩形 71"/>
          <p:cNvSpPr/>
          <p:nvPr>
            <p:custDataLst>
              <p:tags r:id="rId12"/>
            </p:custDataLst>
          </p:nvPr>
        </p:nvSpPr>
        <p:spPr>
          <a:xfrm>
            <a:off x="8665934" y="2335577"/>
            <a:ext cx="1794185" cy="41576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600" u="sng" dirty="0">
                <a:solidFill>
                  <a:schemeClr val="dk1"/>
                </a:solidFill>
                <a:cs typeface="+mn-ea"/>
                <a:sym typeface="+mn-lt"/>
              </a:rPr>
              <a:t>Text here. </a:t>
            </a:r>
          </a:p>
        </p:txBody>
      </p:sp>
      <p:sp>
        <p:nvSpPr>
          <p:cNvPr id="73" name="矩形: 圆角 72"/>
          <p:cNvSpPr/>
          <p:nvPr>
            <p:custDataLst>
              <p:tags r:id="rId13"/>
            </p:custDataLst>
          </p:nvPr>
        </p:nvSpPr>
        <p:spPr>
          <a:xfrm>
            <a:off x="8665934" y="2751345"/>
            <a:ext cx="1794185" cy="446763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 w="19050">
            <a:solidFill>
              <a:schemeClr val="accent3"/>
            </a:solidFill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endParaRPr lang="zh-CN" altLang="en-US" sz="16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74" name="文本框 73"/>
          <p:cNvSpPr txBox="1"/>
          <p:nvPr>
            <p:custDataLst>
              <p:tags r:id="rId14"/>
            </p:custDataLst>
          </p:nvPr>
        </p:nvSpPr>
        <p:spPr>
          <a:xfrm>
            <a:off x="8130212" y="3337025"/>
            <a:ext cx="2865629" cy="104171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75" name="文本框 74"/>
          <p:cNvSpPr txBox="1"/>
          <p:nvPr>
            <p:custDataLst>
              <p:tags r:id="rId15"/>
            </p:custDataLst>
          </p:nvPr>
        </p:nvSpPr>
        <p:spPr>
          <a:xfrm>
            <a:off x="8130212" y="4450663"/>
            <a:ext cx="2865629" cy="104171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76" name="任意多边形: 形状 75"/>
          <p:cNvSpPr/>
          <p:nvPr>
            <p:custDataLst>
              <p:tags r:id="rId16"/>
            </p:custDataLst>
          </p:nvPr>
        </p:nvSpPr>
        <p:spPr>
          <a:xfrm>
            <a:off x="9407828" y="2851141"/>
            <a:ext cx="310398" cy="24716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112" name="矩形 111"/>
          <p:cNvSpPr/>
          <p:nvPr>
            <p:custDataLst>
              <p:tags r:id="rId2"/>
            </p:custDataLst>
          </p:nvPr>
        </p:nvSpPr>
        <p:spPr bwMode="auto">
          <a:xfrm>
            <a:off x="3511550" y="1647824"/>
            <a:ext cx="5168900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3" name="任意多边形: 形状 112"/>
          <p:cNvSpPr/>
          <p:nvPr>
            <p:custDataLst>
              <p:tags r:id="rId3"/>
            </p:custDataLst>
          </p:nvPr>
        </p:nvSpPr>
        <p:spPr bwMode="auto">
          <a:xfrm>
            <a:off x="4695825" y="1760537"/>
            <a:ext cx="2111375" cy="3030538"/>
          </a:xfrm>
          <a:custGeom>
            <a:avLst/>
            <a:gdLst>
              <a:gd name="T0" fmla="*/ 19 w 187"/>
              <a:gd name="T1" fmla="*/ 269 h 269"/>
              <a:gd name="T2" fmla="*/ 0 w 187"/>
              <a:gd name="T3" fmla="*/ 256 h 269"/>
              <a:gd name="T4" fmla="*/ 71 w 187"/>
              <a:gd name="T5" fmla="*/ 137 h 269"/>
              <a:gd name="T6" fmla="*/ 71 w 187"/>
              <a:gd name="T7" fmla="*/ 137 h 269"/>
              <a:gd name="T8" fmla="*/ 70 w 187"/>
              <a:gd name="T9" fmla="*/ 128 h 269"/>
              <a:gd name="T10" fmla="*/ 65 w 187"/>
              <a:gd name="T11" fmla="*/ 122 h 269"/>
              <a:gd name="T12" fmla="*/ 61 w 187"/>
              <a:gd name="T13" fmla="*/ 40 h 269"/>
              <a:gd name="T14" fmla="*/ 156 w 187"/>
              <a:gd name="T15" fmla="*/ 22 h 269"/>
              <a:gd name="T16" fmla="*/ 187 w 187"/>
              <a:gd name="T17" fmla="*/ 81 h 269"/>
              <a:gd name="T18" fmla="*/ 185 w 187"/>
              <a:gd name="T19" fmla="*/ 95 h 269"/>
              <a:gd name="T20" fmla="*/ 175 w 187"/>
              <a:gd name="T21" fmla="*/ 117 h 269"/>
              <a:gd name="T22" fmla="*/ 120 w 187"/>
              <a:gd name="T23" fmla="*/ 148 h 269"/>
              <a:gd name="T24" fmla="*/ 106 w 187"/>
              <a:gd name="T25" fmla="*/ 146 h 269"/>
              <a:gd name="T26" fmla="*/ 98 w 187"/>
              <a:gd name="T27" fmla="*/ 145 h 269"/>
              <a:gd name="T28" fmla="*/ 90 w 187"/>
              <a:gd name="T29" fmla="*/ 150 h 269"/>
              <a:gd name="T30" fmla="*/ 19 w 187"/>
              <a:gd name="T31" fmla="*/ 269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87" h="269">
                <a:moveTo>
                  <a:pt x="19" y="269"/>
                </a:moveTo>
                <a:cubicBezTo>
                  <a:pt x="14" y="263"/>
                  <a:pt x="8" y="259"/>
                  <a:pt x="0" y="256"/>
                </a:cubicBezTo>
                <a:cubicBezTo>
                  <a:pt x="71" y="137"/>
                  <a:pt x="71" y="137"/>
                  <a:pt x="71" y="137"/>
                </a:cubicBezTo>
                <a:cubicBezTo>
                  <a:pt x="71" y="137"/>
                  <a:pt x="71" y="137"/>
                  <a:pt x="71" y="137"/>
                </a:cubicBezTo>
                <a:cubicBezTo>
                  <a:pt x="74" y="132"/>
                  <a:pt x="70" y="128"/>
                  <a:pt x="70" y="128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46" y="100"/>
                  <a:pt x="44" y="66"/>
                  <a:pt x="61" y="40"/>
                </a:cubicBezTo>
                <a:cubicBezTo>
                  <a:pt x="82" y="9"/>
                  <a:pt x="125" y="0"/>
                  <a:pt x="156" y="22"/>
                </a:cubicBezTo>
                <a:cubicBezTo>
                  <a:pt x="177" y="35"/>
                  <a:pt x="187" y="58"/>
                  <a:pt x="187" y="81"/>
                </a:cubicBezTo>
                <a:cubicBezTo>
                  <a:pt x="187" y="85"/>
                  <a:pt x="186" y="90"/>
                  <a:pt x="185" y="95"/>
                </a:cubicBezTo>
                <a:cubicBezTo>
                  <a:pt x="183" y="102"/>
                  <a:pt x="180" y="110"/>
                  <a:pt x="175" y="117"/>
                </a:cubicBezTo>
                <a:cubicBezTo>
                  <a:pt x="162" y="136"/>
                  <a:pt x="141" y="147"/>
                  <a:pt x="120" y="148"/>
                </a:cubicBezTo>
                <a:cubicBezTo>
                  <a:pt x="115" y="148"/>
                  <a:pt x="110" y="147"/>
                  <a:pt x="106" y="146"/>
                </a:cubicBezTo>
                <a:cubicBezTo>
                  <a:pt x="98" y="145"/>
                  <a:pt x="98" y="145"/>
                  <a:pt x="98" y="145"/>
                </a:cubicBezTo>
                <a:cubicBezTo>
                  <a:pt x="93" y="145"/>
                  <a:pt x="91" y="147"/>
                  <a:pt x="90" y="150"/>
                </a:cubicBezTo>
                <a:cubicBezTo>
                  <a:pt x="19" y="269"/>
                  <a:pt x="19" y="269"/>
                  <a:pt x="19" y="269"/>
                </a:cubicBez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4" name="任意多边形: 形状 113"/>
          <p:cNvSpPr/>
          <p:nvPr>
            <p:custDataLst>
              <p:tags r:id="rId4"/>
            </p:custDataLst>
          </p:nvPr>
        </p:nvSpPr>
        <p:spPr bwMode="auto">
          <a:xfrm>
            <a:off x="6175375" y="3033712"/>
            <a:ext cx="2290763" cy="2963863"/>
          </a:xfrm>
          <a:custGeom>
            <a:avLst/>
            <a:gdLst>
              <a:gd name="T0" fmla="*/ 20 w 203"/>
              <a:gd name="T1" fmla="*/ 0 h 263"/>
              <a:gd name="T2" fmla="*/ 97 w 203"/>
              <a:gd name="T3" fmla="*/ 115 h 263"/>
              <a:gd name="T4" fmla="*/ 102 w 203"/>
              <a:gd name="T5" fmla="*/ 121 h 263"/>
              <a:gd name="T6" fmla="*/ 117 w 203"/>
              <a:gd name="T7" fmla="*/ 121 h 263"/>
              <a:gd name="T8" fmla="*/ 186 w 203"/>
              <a:gd name="T9" fmla="*/ 146 h 263"/>
              <a:gd name="T10" fmla="*/ 198 w 203"/>
              <a:gd name="T11" fmla="*/ 207 h 263"/>
              <a:gd name="T12" fmla="*/ 198 w 203"/>
              <a:gd name="T13" fmla="*/ 207 h 263"/>
              <a:gd name="T14" fmla="*/ 116 w 203"/>
              <a:gd name="T15" fmla="*/ 255 h 263"/>
              <a:gd name="T16" fmla="*/ 69 w 203"/>
              <a:gd name="T17" fmla="*/ 217 h 263"/>
              <a:gd name="T18" fmla="*/ 79 w 203"/>
              <a:gd name="T19" fmla="*/ 145 h 263"/>
              <a:gd name="T20" fmla="*/ 83 w 203"/>
              <a:gd name="T21" fmla="*/ 137 h 263"/>
              <a:gd name="T22" fmla="*/ 79 w 203"/>
              <a:gd name="T23" fmla="*/ 129 h 263"/>
              <a:gd name="T24" fmla="*/ 0 w 203"/>
              <a:gd name="T25" fmla="*/ 11 h 263"/>
              <a:gd name="T26" fmla="*/ 20 w 203"/>
              <a:gd name="T27" fmla="*/ 0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3" h="263">
                <a:moveTo>
                  <a:pt x="20" y="0"/>
                </a:moveTo>
                <a:cubicBezTo>
                  <a:pt x="46" y="39"/>
                  <a:pt x="72" y="77"/>
                  <a:pt x="97" y="115"/>
                </a:cubicBezTo>
                <a:cubicBezTo>
                  <a:pt x="99" y="117"/>
                  <a:pt x="100" y="120"/>
                  <a:pt x="102" y="121"/>
                </a:cubicBezTo>
                <a:cubicBezTo>
                  <a:pt x="107" y="124"/>
                  <a:pt x="112" y="122"/>
                  <a:pt x="117" y="121"/>
                </a:cubicBezTo>
                <a:cubicBezTo>
                  <a:pt x="142" y="116"/>
                  <a:pt x="170" y="126"/>
                  <a:pt x="186" y="146"/>
                </a:cubicBezTo>
                <a:cubicBezTo>
                  <a:pt x="199" y="163"/>
                  <a:pt x="203" y="186"/>
                  <a:pt x="198" y="207"/>
                </a:cubicBezTo>
                <a:cubicBezTo>
                  <a:pt x="198" y="207"/>
                  <a:pt x="198" y="207"/>
                  <a:pt x="198" y="207"/>
                </a:cubicBezTo>
                <a:cubicBezTo>
                  <a:pt x="188" y="241"/>
                  <a:pt x="151" y="263"/>
                  <a:pt x="116" y="255"/>
                </a:cubicBezTo>
                <a:cubicBezTo>
                  <a:pt x="96" y="250"/>
                  <a:pt x="78" y="236"/>
                  <a:pt x="69" y="217"/>
                </a:cubicBezTo>
                <a:cubicBezTo>
                  <a:pt x="59" y="194"/>
                  <a:pt x="62" y="164"/>
                  <a:pt x="79" y="145"/>
                </a:cubicBezTo>
                <a:cubicBezTo>
                  <a:pt x="80" y="142"/>
                  <a:pt x="82" y="140"/>
                  <a:pt x="83" y="137"/>
                </a:cubicBezTo>
                <a:cubicBezTo>
                  <a:pt x="83" y="134"/>
                  <a:pt x="81" y="132"/>
                  <a:pt x="79" y="129"/>
                </a:cubicBezTo>
                <a:cubicBezTo>
                  <a:pt x="0" y="11"/>
                  <a:pt x="0" y="11"/>
                  <a:pt x="0" y="11"/>
                </a:cubicBezTo>
                <a:cubicBezTo>
                  <a:pt x="20" y="0"/>
                  <a:pt x="20" y="0"/>
                  <a:pt x="20" y="0"/>
                </a:cubicBezTo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5" name="任意多边形: 形状 114"/>
          <p:cNvSpPr/>
          <p:nvPr>
            <p:custDataLst>
              <p:tags r:id="rId5"/>
            </p:custDataLst>
          </p:nvPr>
        </p:nvSpPr>
        <p:spPr bwMode="auto">
          <a:xfrm>
            <a:off x="6016625" y="1647824"/>
            <a:ext cx="1016000" cy="1014413"/>
          </a:xfrm>
          <a:custGeom>
            <a:avLst/>
            <a:gdLst>
              <a:gd name="T0" fmla="*/ 69 w 90"/>
              <a:gd name="T1" fmla="*/ 31 h 90"/>
              <a:gd name="T2" fmla="*/ 71 w 90"/>
              <a:gd name="T3" fmla="*/ 26 h 90"/>
              <a:gd name="T4" fmla="*/ 62 w 90"/>
              <a:gd name="T5" fmla="*/ 16 h 90"/>
              <a:gd name="T6" fmla="*/ 56 w 90"/>
              <a:gd name="T7" fmla="*/ 19 h 90"/>
              <a:gd name="T8" fmla="*/ 1 w 90"/>
              <a:gd name="T9" fmla="*/ 0 h 90"/>
              <a:gd name="T10" fmla="*/ 0 w 90"/>
              <a:gd name="T11" fmla="*/ 1 h 90"/>
              <a:gd name="T12" fmla="*/ 1 w 90"/>
              <a:gd name="T13" fmla="*/ 2 h 90"/>
              <a:gd name="T14" fmla="*/ 54 w 90"/>
              <a:gd name="T15" fmla="*/ 21 h 90"/>
              <a:gd name="T16" fmla="*/ 52 w 90"/>
              <a:gd name="T17" fmla="*/ 26 h 90"/>
              <a:gd name="T18" fmla="*/ 62 w 90"/>
              <a:gd name="T19" fmla="*/ 35 h 90"/>
              <a:gd name="T20" fmla="*/ 67 w 90"/>
              <a:gd name="T21" fmla="*/ 33 h 90"/>
              <a:gd name="T22" fmla="*/ 87 w 90"/>
              <a:gd name="T23" fmla="*/ 89 h 90"/>
              <a:gd name="T24" fmla="*/ 89 w 90"/>
              <a:gd name="T25" fmla="*/ 90 h 90"/>
              <a:gd name="T26" fmla="*/ 90 w 90"/>
              <a:gd name="T27" fmla="*/ 89 h 90"/>
              <a:gd name="T28" fmla="*/ 69 w 90"/>
              <a:gd name="T29" fmla="*/ 31 h 90"/>
              <a:gd name="T30" fmla="*/ 62 w 90"/>
              <a:gd name="T31" fmla="*/ 33 h 90"/>
              <a:gd name="T32" fmla="*/ 55 w 90"/>
              <a:gd name="T33" fmla="*/ 26 h 90"/>
              <a:gd name="T34" fmla="*/ 62 w 90"/>
              <a:gd name="T35" fmla="*/ 19 h 90"/>
              <a:gd name="T36" fmla="*/ 68 w 90"/>
              <a:gd name="T37" fmla="*/ 26 h 90"/>
              <a:gd name="T38" fmla="*/ 62 w 90"/>
              <a:gd name="T39" fmla="*/ 33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90">
                <a:moveTo>
                  <a:pt x="69" y="31"/>
                </a:moveTo>
                <a:cubicBezTo>
                  <a:pt x="70" y="30"/>
                  <a:pt x="71" y="28"/>
                  <a:pt x="71" y="26"/>
                </a:cubicBezTo>
                <a:cubicBezTo>
                  <a:pt x="71" y="21"/>
                  <a:pt x="67" y="16"/>
                  <a:pt x="62" y="16"/>
                </a:cubicBezTo>
                <a:cubicBezTo>
                  <a:pt x="60" y="16"/>
                  <a:pt x="57" y="17"/>
                  <a:pt x="56" y="19"/>
                </a:cubicBezTo>
                <a:cubicBezTo>
                  <a:pt x="41" y="7"/>
                  <a:pt x="22" y="0"/>
                  <a:pt x="1" y="0"/>
                </a:cubicBezTo>
                <a:cubicBezTo>
                  <a:pt x="0" y="0"/>
                  <a:pt x="0" y="0"/>
                  <a:pt x="0" y="1"/>
                </a:cubicBezTo>
                <a:cubicBezTo>
                  <a:pt x="0" y="2"/>
                  <a:pt x="0" y="2"/>
                  <a:pt x="1" y="2"/>
                </a:cubicBezTo>
                <a:cubicBezTo>
                  <a:pt x="21" y="2"/>
                  <a:pt x="39" y="9"/>
                  <a:pt x="54" y="21"/>
                </a:cubicBezTo>
                <a:cubicBezTo>
                  <a:pt x="53" y="22"/>
                  <a:pt x="52" y="24"/>
                  <a:pt x="52" y="26"/>
                </a:cubicBezTo>
                <a:cubicBezTo>
                  <a:pt x="52" y="31"/>
                  <a:pt x="57" y="35"/>
                  <a:pt x="62" y="35"/>
                </a:cubicBezTo>
                <a:cubicBezTo>
                  <a:pt x="64" y="35"/>
                  <a:pt x="66" y="35"/>
                  <a:pt x="67" y="33"/>
                </a:cubicBezTo>
                <a:cubicBezTo>
                  <a:pt x="80" y="48"/>
                  <a:pt x="87" y="68"/>
                  <a:pt x="87" y="89"/>
                </a:cubicBezTo>
                <a:cubicBezTo>
                  <a:pt x="87" y="89"/>
                  <a:pt x="88" y="90"/>
                  <a:pt x="89" y="90"/>
                </a:cubicBezTo>
                <a:cubicBezTo>
                  <a:pt x="89" y="90"/>
                  <a:pt x="90" y="89"/>
                  <a:pt x="90" y="89"/>
                </a:cubicBezTo>
                <a:cubicBezTo>
                  <a:pt x="90" y="67"/>
                  <a:pt x="82" y="47"/>
                  <a:pt x="69" y="31"/>
                </a:cubicBezTo>
                <a:close/>
                <a:moveTo>
                  <a:pt x="62" y="33"/>
                </a:moveTo>
                <a:cubicBezTo>
                  <a:pt x="58" y="33"/>
                  <a:pt x="55" y="30"/>
                  <a:pt x="55" y="26"/>
                </a:cubicBezTo>
                <a:cubicBezTo>
                  <a:pt x="55" y="22"/>
                  <a:pt x="58" y="19"/>
                  <a:pt x="62" y="19"/>
                </a:cubicBezTo>
                <a:cubicBezTo>
                  <a:pt x="65" y="19"/>
                  <a:pt x="68" y="22"/>
                  <a:pt x="68" y="26"/>
                </a:cubicBezTo>
                <a:cubicBezTo>
                  <a:pt x="68" y="29"/>
                  <a:pt x="65" y="33"/>
                  <a:pt x="62" y="3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6" name="椭圆 115"/>
          <p:cNvSpPr/>
          <p:nvPr>
            <p:custDataLst>
              <p:tags r:id="rId6"/>
            </p:custDataLst>
          </p:nvPr>
        </p:nvSpPr>
        <p:spPr bwMode="auto">
          <a:xfrm>
            <a:off x="6672263" y="1895474"/>
            <a:ext cx="88900" cy="90488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7" name="任意多边形: 形状 116"/>
          <p:cNvSpPr/>
          <p:nvPr>
            <p:custDataLst>
              <p:tags r:id="rId7"/>
            </p:custDataLst>
          </p:nvPr>
        </p:nvSpPr>
        <p:spPr bwMode="auto">
          <a:xfrm>
            <a:off x="7664450" y="5129212"/>
            <a:ext cx="1016000" cy="1014413"/>
          </a:xfrm>
          <a:custGeom>
            <a:avLst/>
            <a:gdLst>
              <a:gd name="T0" fmla="*/ 90 w 90"/>
              <a:gd name="T1" fmla="*/ 1 h 90"/>
              <a:gd name="T2" fmla="*/ 89 w 90"/>
              <a:gd name="T3" fmla="*/ 0 h 90"/>
              <a:gd name="T4" fmla="*/ 87 w 90"/>
              <a:gd name="T5" fmla="*/ 1 h 90"/>
              <a:gd name="T6" fmla="*/ 69 w 90"/>
              <a:gd name="T7" fmla="*/ 54 h 90"/>
              <a:gd name="T8" fmla="*/ 64 w 90"/>
              <a:gd name="T9" fmla="*/ 53 h 90"/>
              <a:gd name="T10" fmla="*/ 55 w 90"/>
              <a:gd name="T11" fmla="*/ 62 h 90"/>
              <a:gd name="T12" fmla="*/ 56 w 90"/>
              <a:gd name="T13" fmla="*/ 68 h 90"/>
              <a:gd name="T14" fmla="*/ 1 w 90"/>
              <a:gd name="T15" fmla="*/ 88 h 90"/>
              <a:gd name="T16" fmla="*/ 0 w 90"/>
              <a:gd name="T17" fmla="*/ 89 h 90"/>
              <a:gd name="T18" fmla="*/ 1 w 90"/>
              <a:gd name="T19" fmla="*/ 90 h 90"/>
              <a:gd name="T20" fmla="*/ 58 w 90"/>
              <a:gd name="T21" fmla="*/ 69 h 90"/>
              <a:gd name="T22" fmla="*/ 64 w 90"/>
              <a:gd name="T23" fmla="*/ 71 h 90"/>
              <a:gd name="T24" fmla="*/ 73 w 90"/>
              <a:gd name="T25" fmla="*/ 62 h 90"/>
              <a:gd name="T26" fmla="*/ 71 w 90"/>
              <a:gd name="T27" fmla="*/ 56 h 90"/>
              <a:gd name="T28" fmla="*/ 90 w 90"/>
              <a:gd name="T29" fmla="*/ 1 h 90"/>
              <a:gd name="T30" fmla="*/ 64 w 90"/>
              <a:gd name="T31" fmla="*/ 69 h 90"/>
              <a:gd name="T32" fmla="*/ 57 w 90"/>
              <a:gd name="T33" fmla="*/ 62 h 90"/>
              <a:gd name="T34" fmla="*/ 64 w 90"/>
              <a:gd name="T35" fmla="*/ 55 h 90"/>
              <a:gd name="T36" fmla="*/ 71 w 90"/>
              <a:gd name="T37" fmla="*/ 62 h 90"/>
              <a:gd name="T38" fmla="*/ 64 w 90"/>
              <a:gd name="T39" fmla="*/ 6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90">
                <a:moveTo>
                  <a:pt x="90" y="1"/>
                </a:moveTo>
                <a:cubicBezTo>
                  <a:pt x="90" y="1"/>
                  <a:pt x="89" y="0"/>
                  <a:pt x="89" y="0"/>
                </a:cubicBezTo>
                <a:cubicBezTo>
                  <a:pt x="88" y="0"/>
                  <a:pt x="87" y="1"/>
                  <a:pt x="87" y="1"/>
                </a:cubicBezTo>
                <a:cubicBezTo>
                  <a:pt x="87" y="21"/>
                  <a:pt x="81" y="40"/>
                  <a:pt x="69" y="54"/>
                </a:cubicBezTo>
                <a:cubicBezTo>
                  <a:pt x="68" y="53"/>
                  <a:pt x="66" y="53"/>
                  <a:pt x="64" y="53"/>
                </a:cubicBezTo>
                <a:cubicBezTo>
                  <a:pt x="59" y="53"/>
                  <a:pt x="55" y="57"/>
                  <a:pt x="55" y="62"/>
                </a:cubicBezTo>
                <a:cubicBezTo>
                  <a:pt x="55" y="64"/>
                  <a:pt x="55" y="66"/>
                  <a:pt x="56" y="68"/>
                </a:cubicBezTo>
                <a:cubicBezTo>
                  <a:pt x="41" y="80"/>
                  <a:pt x="22" y="88"/>
                  <a:pt x="1" y="88"/>
                </a:cubicBezTo>
                <a:cubicBezTo>
                  <a:pt x="0" y="88"/>
                  <a:pt x="0" y="88"/>
                  <a:pt x="0" y="89"/>
                </a:cubicBezTo>
                <a:cubicBezTo>
                  <a:pt x="0" y="90"/>
                  <a:pt x="0" y="90"/>
                  <a:pt x="1" y="90"/>
                </a:cubicBezTo>
                <a:cubicBezTo>
                  <a:pt x="23" y="90"/>
                  <a:pt x="43" y="83"/>
                  <a:pt x="58" y="69"/>
                </a:cubicBezTo>
                <a:cubicBezTo>
                  <a:pt x="60" y="71"/>
                  <a:pt x="62" y="71"/>
                  <a:pt x="64" y="71"/>
                </a:cubicBezTo>
                <a:cubicBezTo>
                  <a:pt x="69" y="71"/>
                  <a:pt x="73" y="67"/>
                  <a:pt x="73" y="62"/>
                </a:cubicBezTo>
                <a:cubicBezTo>
                  <a:pt x="73" y="60"/>
                  <a:pt x="72" y="58"/>
                  <a:pt x="71" y="56"/>
                </a:cubicBezTo>
                <a:cubicBezTo>
                  <a:pt x="83" y="41"/>
                  <a:pt x="90" y="22"/>
                  <a:pt x="90" y="1"/>
                </a:cubicBezTo>
                <a:close/>
                <a:moveTo>
                  <a:pt x="64" y="69"/>
                </a:moveTo>
                <a:cubicBezTo>
                  <a:pt x="60" y="69"/>
                  <a:pt x="57" y="66"/>
                  <a:pt x="57" y="62"/>
                </a:cubicBezTo>
                <a:cubicBezTo>
                  <a:pt x="57" y="58"/>
                  <a:pt x="60" y="55"/>
                  <a:pt x="64" y="55"/>
                </a:cubicBezTo>
                <a:cubicBezTo>
                  <a:pt x="68" y="55"/>
                  <a:pt x="71" y="58"/>
                  <a:pt x="71" y="62"/>
                </a:cubicBezTo>
                <a:cubicBezTo>
                  <a:pt x="71" y="66"/>
                  <a:pt x="68" y="69"/>
                  <a:pt x="64" y="6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8" name="椭圆 117"/>
          <p:cNvSpPr/>
          <p:nvPr>
            <p:custDataLst>
              <p:tags r:id="rId8"/>
            </p:custDataLst>
          </p:nvPr>
        </p:nvSpPr>
        <p:spPr bwMode="auto">
          <a:xfrm>
            <a:off x="8342313" y="5783262"/>
            <a:ext cx="90488" cy="90488"/>
          </a:xfrm>
          <a:prstGeom prst="ellipse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9" name="任意多边形: 形状 118"/>
          <p:cNvSpPr/>
          <p:nvPr>
            <p:custDataLst>
              <p:tags r:id="rId9"/>
            </p:custDataLst>
          </p:nvPr>
        </p:nvSpPr>
        <p:spPr bwMode="auto">
          <a:xfrm>
            <a:off x="3511550" y="4149724"/>
            <a:ext cx="1016000" cy="1014413"/>
          </a:xfrm>
          <a:custGeom>
            <a:avLst/>
            <a:gdLst>
              <a:gd name="T0" fmla="*/ 89 w 90"/>
              <a:gd name="T1" fmla="*/ 0 h 90"/>
              <a:gd name="T2" fmla="*/ 32 w 90"/>
              <a:gd name="T3" fmla="*/ 21 h 90"/>
              <a:gd name="T4" fmla="*/ 26 w 90"/>
              <a:gd name="T5" fmla="*/ 19 h 90"/>
              <a:gd name="T6" fmla="*/ 17 w 90"/>
              <a:gd name="T7" fmla="*/ 28 h 90"/>
              <a:gd name="T8" fmla="*/ 19 w 90"/>
              <a:gd name="T9" fmla="*/ 34 h 90"/>
              <a:gd name="T10" fmla="*/ 0 w 90"/>
              <a:gd name="T11" fmla="*/ 89 h 90"/>
              <a:gd name="T12" fmla="*/ 1 w 90"/>
              <a:gd name="T13" fmla="*/ 90 h 90"/>
              <a:gd name="T14" fmla="*/ 3 w 90"/>
              <a:gd name="T15" fmla="*/ 89 h 90"/>
              <a:gd name="T16" fmla="*/ 21 w 90"/>
              <a:gd name="T17" fmla="*/ 36 h 90"/>
              <a:gd name="T18" fmla="*/ 26 w 90"/>
              <a:gd name="T19" fmla="*/ 37 h 90"/>
              <a:gd name="T20" fmla="*/ 36 w 90"/>
              <a:gd name="T21" fmla="*/ 28 h 90"/>
              <a:gd name="T22" fmla="*/ 34 w 90"/>
              <a:gd name="T23" fmla="*/ 23 h 90"/>
              <a:gd name="T24" fmla="*/ 89 w 90"/>
              <a:gd name="T25" fmla="*/ 2 h 90"/>
              <a:gd name="T26" fmla="*/ 90 w 90"/>
              <a:gd name="T27" fmla="*/ 1 h 90"/>
              <a:gd name="T28" fmla="*/ 89 w 90"/>
              <a:gd name="T29" fmla="*/ 0 h 90"/>
              <a:gd name="T30" fmla="*/ 26 w 90"/>
              <a:gd name="T31" fmla="*/ 35 h 90"/>
              <a:gd name="T32" fmla="*/ 19 w 90"/>
              <a:gd name="T33" fmla="*/ 28 h 90"/>
              <a:gd name="T34" fmla="*/ 26 w 90"/>
              <a:gd name="T35" fmla="*/ 21 h 90"/>
              <a:gd name="T36" fmla="*/ 33 w 90"/>
              <a:gd name="T37" fmla="*/ 28 h 90"/>
              <a:gd name="T38" fmla="*/ 26 w 90"/>
              <a:gd name="T39" fmla="*/ 35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90">
                <a:moveTo>
                  <a:pt x="89" y="0"/>
                </a:moveTo>
                <a:cubicBezTo>
                  <a:pt x="67" y="0"/>
                  <a:pt x="47" y="8"/>
                  <a:pt x="32" y="21"/>
                </a:cubicBezTo>
                <a:cubicBezTo>
                  <a:pt x="30" y="19"/>
                  <a:pt x="28" y="19"/>
                  <a:pt x="26" y="19"/>
                </a:cubicBezTo>
                <a:cubicBezTo>
                  <a:pt x="21" y="19"/>
                  <a:pt x="17" y="23"/>
                  <a:pt x="17" y="28"/>
                </a:cubicBezTo>
                <a:cubicBezTo>
                  <a:pt x="17" y="30"/>
                  <a:pt x="18" y="32"/>
                  <a:pt x="19" y="34"/>
                </a:cubicBezTo>
                <a:cubicBezTo>
                  <a:pt x="7" y="49"/>
                  <a:pt x="0" y="68"/>
                  <a:pt x="0" y="89"/>
                </a:cubicBezTo>
                <a:cubicBezTo>
                  <a:pt x="0" y="90"/>
                  <a:pt x="1" y="90"/>
                  <a:pt x="1" y="90"/>
                </a:cubicBezTo>
                <a:cubicBezTo>
                  <a:pt x="2" y="90"/>
                  <a:pt x="3" y="90"/>
                  <a:pt x="3" y="89"/>
                </a:cubicBezTo>
                <a:cubicBezTo>
                  <a:pt x="3" y="69"/>
                  <a:pt x="9" y="50"/>
                  <a:pt x="21" y="36"/>
                </a:cubicBezTo>
                <a:cubicBezTo>
                  <a:pt x="22" y="37"/>
                  <a:pt x="24" y="37"/>
                  <a:pt x="26" y="37"/>
                </a:cubicBezTo>
                <a:cubicBezTo>
                  <a:pt x="31" y="37"/>
                  <a:pt x="36" y="33"/>
                  <a:pt x="36" y="28"/>
                </a:cubicBezTo>
                <a:cubicBezTo>
                  <a:pt x="36" y="26"/>
                  <a:pt x="35" y="24"/>
                  <a:pt x="34" y="23"/>
                </a:cubicBezTo>
                <a:cubicBezTo>
                  <a:pt x="49" y="10"/>
                  <a:pt x="68" y="2"/>
                  <a:pt x="89" y="2"/>
                </a:cubicBezTo>
                <a:cubicBezTo>
                  <a:pt x="90" y="2"/>
                  <a:pt x="90" y="2"/>
                  <a:pt x="90" y="1"/>
                </a:cubicBezTo>
                <a:cubicBezTo>
                  <a:pt x="90" y="0"/>
                  <a:pt x="90" y="0"/>
                  <a:pt x="89" y="0"/>
                </a:cubicBezTo>
                <a:close/>
                <a:moveTo>
                  <a:pt x="26" y="35"/>
                </a:moveTo>
                <a:cubicBezTo>
                  <a:pt x="22" y="35"/>
                  <a:pt x="19" y="32"/>
                  <a:pt x="19" y="28"/>
                </a:cubicBezTo>
                <a:cubicBezTo>
                  <a:pt x="19" y="24"/>
                  <a:pt x="22" y="21"/>
                  <a:pt x="26" y="21"/>
                </a:cubicBezTo>
                <a:cubicBezTo>
                  <a:pt x="30" y="21"/>
                  <a:pt x="33" y="24"/>
                  <a:pt x="33" y="28"/>
                </a:cubicBezTo>
                <a:cubicBezTo>
                  <a:pt x="33" y="32"/>
                  <a:pt x="30" y="35"/>
                  <a:pt x="26" y="3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0" name="椭圆 119"/>
          <p:cNvSpPr/>
          <p:nvPr>
            <p:custDataLst>
              <p:tags r:id="rId10"/>
            </p:custDataLst>
          </p:nvPr>
        </p:nvSpPr>
        <p:spPr bwMode="auto">
          <a:xfrm>
            <a:off x="3759200" y="4419599"/>
            <a:ext cx="90488" cy="90488"/>
          </a:xfrm>
          <a:prstGeom prst="ellipse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1" name="任意多边形: 形状 120"/>
          <p:cNvSpPr/>
          <p:nvPr>
            <p:custDataLst>
              <p:tags r:id="rId11"/>
            </p:custDataLst>
          </p:nvPr>
        </p:nvSpPr>
        <p:spPr bwMode="auto">
          <a:xfrm>
            <a:off x="5588000" y="2357437"/>
            <a:ext cx="1196975" cy="1069975"/>
          </a:xfrm>
          <a:custGeom>
            <a:avLst/>
            <a:gdLst>
              <a:gd name="T0" fmla="*/ 79 w 106"/>
              <a:gd name="T1" fmla="*/ 0 h 95"/>
              <a:gd name="T2" fmla="*/ 0 w 106"/>
              <a:gd name="T3" fmla="*/ 52 h 95"/>
              <a:gd name="T4" fmla="*/ 27 w 106"/>
              <a:gd name="T5" fmla="*/ 93 h 95"/>
              <a:gd name="T6" fmla="*/ 39 w 106"/>
              <a:gd name="T7" fmla="*/ 95 h 95"/>
              <a:gd name="T8" fmla="*/ 41 w 106"/>
              <a:gd name="T9" fmla="*/ 95 h 95"/>
              <a:gd name="T10" fmla="*/ 64 w 106"/>
              <a:gd name="T11" fmla="*/ 90 h 95"/>
              <a:gd name="T12" fmla="*/ 52 w 106"/>
              <a:gd name="T13" fmla="*/ 71 h 95"/>
              <a:gd name="T14" fmla="*/ 72 w 106"/>
              <a:gd name="T15" fmla="*/ 60 h 95"/>
              <a:gd name="T16" fmla="*/ 84 w 106"/>
              <a:gd name="T17" fmla="*/ 78 h 95"/>
              <a:gd name="T18" fmla="*/ 96 w 106"/>
              <a:gd name="T19" fmla="*/ 64 h 95"/>
              <a:gd name="T20" fmla="*/ 106 w 106"/>
              <a:gd name="T21" fmla="*/ 42 h 95"/>
              <a:gd name="T22" fmla="*/ 79 w 106"/>
              <a:gd name="T23" fmla="*/ 0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6" h="95">
                <a:moveTo>
                  <a:pt x="79" y="0"/>
                </a:moveTo>
                <a:cubicBezTo>
                  <a:pt x="0" y="52"/>
                  <a:pt x="0" y="52"/>
                  <a:pt x="0" y="52"/>
                </a:cubicBezTo>
                <a:cubicBezTo>
                  <a:pt x="27" y="93"/>
                  <a:pt x="27" y="93"/>
                  <a:pt x="27" y="93"/>
                </a:cubicBezTo>
                <a:cubicBezTo>
                  <a:pt x="31" y="94"/>
                  <a:pt x="35" y="95"/>
                  <a:pt x="39" y="95"/>
                </a:cubicBezTo>
                <a:cubicBezTo>
                  <a:pt x="39" y="95"/>
                  <a:pt x="40" y="95"/>
                  <a:pt x="41" y="95"/>
                </a:cubicBezTo>
                <a:cubicBezTo>
                  <a:pt x="49" y="94"/>
                  <a:pt x="57" y="93"/>
                  <a:pt x="64" y="90"/>
                </a:cubicBezTo>
                <a:cubicBezTo>
                  <a:pt x="52" y="71"/>
                  <a:pt x="52" y="71"/>
                  <a:pt x="52" y="71"/>
                </a:cubicBezTo>
                <a:cubicBezTo>
                  <a:pt x="72" y="60"/>
                  <a:pt x="72" y="60"/>
                  <a:pt x="72" y="60"/>
                </a:cubicBezTo>
                <a:cubicBezTo>
                  <a:pt x="76" y="66"/>
                  <a:pt x="80" y="72"/>
                  <a:pt x="84" y="78"/>
                </a:cubicBezTo>
                <a:cubicBezTo>
                  <a:pt x="88" y="74"/>
                  <a:pt x="92" y="69"/>
                  <a:pt x="96" y="64"/>
                </a:cubicBezTo>
                <a:cubicBezTo>
                  <a:pt x="101" y="57"/>
                  <a:pt x="104" y="49"/>
                  <a:pt x="106" y="42"/>
                </a:cubicBezTo>
                <a:cubicBezTo>
                  <a:pt x="79" y="0"/>
                  <a:pt x="79" y="0"/>
                  <a:pt x="79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2" name="任意多边形: 形状 121"/>
          <p:cNvSpPr/>
          <p:nvPr>
            <p:custDataLst>
              <p:tags r:id="rId12"/>
            </p:custDataLst>
          </p:nvPr>
        </p:nvSpPr>
        <p:spPr bwMode="auto">
          <a:xfrm>
            <a:off x="6175375" y="3033712"/>
            <a:ext cx="360363" cy="338138"/>
          </a:xfrm>
          <a:custGeom>
            <a:avLst/>
            <a:gdLst>
              <a:gd name="T0" fmla="*/ 20 w 32"/>
              <a:gd name="T1" fmla="*/ 0 h 30"/>
              <a:gd name="T2" fmla="*/ 0 w 32"/>
              <a:gd name="T3" fmla="*/ 11 h 30"/>
              <a:gd name="T4" fmla="*/ 12 w 32"/>
              <a:gd name="T5" fmla="*/ 30 h 30"/>
              <a:gd name="T6" fmla="*/ 32 w 32"/>
              <a:gd name="T7" fmla="*/ 18 h 30"/>
              <a:gd name="T8" fmla="*/ 20 w 32"/>
              <a:gd name="T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30">
                <a:moveTo>
                  <a:pt x="20" y="0"/>
                </a:moveTo>
                <a:cubicBezTo>
                  <a:pt x="0" y="11"/>
                  <a:pt x="0" y="11"/>
                  <a:pt x="0" y="11"/>
                </a:cubicBezTo>
                <a:cubicBezTo>
                  <a:pt x="12" y="30"/>
                  <a:pt x="12" y="30"/>
                  <a:pt x="12" y="30"/>
                </a:cubicBezTo>
                <a:cubicBezTo>
                  <a:pt x="19" y="27"/>
                  <a:pt x="26" y="23"/>
                  <a:pt x="32" y="18"/>
                </a:cubicBezTo>
                <a:cubicBezTo>
                  <a:pt x="28" y="12"/>
                  <a:pt x="24" y="6"/>
                  <a:pt x="20" y="0"/>
                </a:cubicBezTo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3" name="任意多边形: 形状 122"/>
          <p:cNvSpPr/>
          <p:nvPr>
            <p:custDataLst>
              <p:tags r:id="rId13"/>
            </p:custDataLst>
          </p:nvPr>
        </p:nvSpPr>
        <p:spPr bwMode="auto">
          <a:xfrm>
            <a:off x="5441950" y="2065337"/>
            <a:ext cx="1150938" cy="1160463"/>
          </a:xfrm>
          <a:custGeom>
            <a:avLst/>
            <a:gdLst>
              <a:gd name="T0" fmla="*/ 85 w 102"/>
              <a:gd name="T1" fmla="*/ 86 h 103"/>
              <a:gd name="T2" fmla="*/ 65 w 102"/>
              <a:gd name="T3" fmla="*/ 97 h 103"/>
              <a:gd name="T4" fmla="*/ 61 w 102"/>
              <a:gd name="T5" fmla="*/ 98 h 103"/>
              <a:gd name="T6" fmla="*/ 5 w 102"/>
              <a:gd name="T7" fmla="*/ 61 h 103"/>
              <a:gd name="T8" fmla="*/ 43 w 102"/>
              <a:gd name="T9" fmla="*/ 5 h 103"/>
              <a:gd name="T10" fmla="*/ 99 w 102"/>
              <a:gd name="T11" fmla="*/ 43 h 103"/>
              <a:gd name="T12" fmla="*/ 85 w 102"/>
              <a:gd name="T13" fmla="*/ 86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" h="103">
                <a:moveTo>
                  <a:pt x="85" y="86"/>
                </a:moveTo>
                <a:cubicBezTo>
                  <a:pt x="79" y="91"/>
                  <a:pt x="73" y="95"/>
                  <a:pt x="65" y="97"/>
                </a:cubicBezTo>
                <a:cubicBezTo>
                  <a:pt x="64" y="98"/>
                  <a:pt x="62" y="98"/>
                  <a:pt x="61" y="98"/>
                </a:cubicBezTo>
                <a:cubicBezTo>
                  <a:pt x="35" y="103"/>
                  <a:pt x="10" y="86"/>
                  <a:pt x="5" y="61"/>
                </a:cubicBezTo>
                <a:cubicBezTo>
                  <a:pt x="0" y="35"/>
                  <a:pt x="17" y="10"/>
                  <a:pt x="43" y="5"/>
                </a:cubicBezTo>
                <a:cubicBezTo>
                  <a:pt x="69" y="0"/>
                  <a:pt x="94" y="17"/>
                  <a:pt x="99" y="43"/>
                </a:cubicBezTo>
                <a:cubicBezTo>
                  <a:pt x="102" y="59"/>
                  <a:pt x="96" y="75"/>
                  <a:pt x="85" y="8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4" name="任意多边形: 形状 123"/>
          <p:cNvSpPr/>
          <p:nvPr>
            <p:custDataLst>
              <p:tags r:id="rId14"/>
            </p:custDataLst>
          </p:nvPr>
        </p:nvSpPr>
        <p:spPr bwMode="auto">
          <a:xfrm>
            <a:off x="3692525" y="4340224"/>
            <a:ext cx="3441700" cy="1611313"/>
          </a:xfrm>
          <a:custGeom>
            <a:avLst/>
            <a:gdLst>
              <a:gd name="T0" fmla="*/ 305 w 305"/>
              <a:gd name="T1" fmla="*/ 83 h 143"/>
              <a:gd name="T2" fmla="*/ 153 w 305"/>
              <a:gd name="T3" fmla="*/ 83 h 143"/>
              <a:gd name="T4" fmla="*/ 144 w 305"/>
              <a:gd name="T5" fmla="*/ 85 h 143"/>
              <a:gd name="T6" fmla="*/ 138 w 305"/>
              <a:gd name="T7" fmla="*/ 91 h 143"/>
              <a:gd name="T8" fmla="*/ 135 w 305"/>
              <a:gd name="T9" fmla="*/ 99 h 143"/>
              <a:gd name="T10" fmla="*/ 65 w 305"/>
              <a:gd name="T11" fmla="*/ 140 h 143"/>
              <a:gd name="T12" fmla="*/ 55 w 305"/>
              <a:gd name="T13" fmla="*/ 138 h 143"/>
              <a:gd name="T14" fmla="*/ 5 w 305"/>
              <a:gd name="T15" fmla="*/ 86 h 143"/>
              <a:gd name="T16" fmla="*/ 33 w 305"/>
              <a:gd name="T17" fmla="*/ 16 h 143"/>
              <a:gd name="T18" fmla="*/ 100 w 305"/>
              <a:gd name="T19" fmla="*/ 9 h 143"/>
              <a:gd name="T20" fmla="*/ 90 w 305"/>
              <a:gd name="T21" fmla="*/ 27 h 143"/>
              <a:gd name="T22" fmla="*/ 108 w 305"/>
              <a:gd name="T23" fmla="*/ 40 h 143"/>
              <a:gd name="T24" fmla="*/ 119 w 305"/>
              <a:gd name="T25" fmla="*/ 22 h 143"/>
              <a:gd name="T26" fmla="*/ 137 w 305"/>
              <a:gd name="T27" fmla="*/ 49 h 143"/>
              <a:gd name="T28" fmla="*/ 143 w 305"/>
              <a:gd name="T29" fmla="*/ 60 h 143"/>
              <a:gd name="T30" fmla="*/ 150 w 305"/>
              <a:gd name="T31" fmla="*/ 61 h 143"/>
              <a:gd name="T32" fmla="*/ 305 w 305"/>
              <a:gd name="T33" fmla="*/ 61 h 143"/>
              <a:gd name="T34" fmla="*/ 305 w 305"/>
              <a:gd name="T35" fmla="*/ 83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05" h="143">
                <a:moveTo>
                  <a:pt x="305" y="83"/>
                </a:moveTo>
                <a:cubicBezTo>
                  <a:pt x="255" y="83"/>
                  <a:pt x="204" y="83"/>
                  <a:pt x="153" y="83"/>
                </a:cubicBezTo>
                <a:cubicBezTo>
                  <a:pt x="150" y="83"/>
                  <a:pt x="147" y="83"/>
                  <a:pt x="144" y="85"/>
                </a:cubicBezTo>
                <a:cubicBezTo>
                  <a:pt x="141" y="86"/>
                  <a:pt x="140" y="88"/>
                  <a:pt x="138" y="91"/>
                </a:cubicBezTo>
                <a:cubicBezTo>
                  <a:pt x="137" y="93"/>
                  <a:pt x="136" y="96"/>
                  <a:pt x="135" y="99"/>
                </a:cubicBezTo>
                <a:cubicBezTo>
                  <a:pt x="123" y="125"/>
                  <a:pt x="94" y="143"/>
                  <a:pt x="65" y="140"/>
                </a:cubicBezTo>
                <a:cubicBezTo>
                  <a:pt x="62" y="139"/>
                  <a:pt x="59" y="139"/>
                  <a:pt x="55" y="138"/>
                </a:cubicBezTo>
                <a:cubicBezTo>
                  <a:pt x="31" y="131"/>
                  <a:pt x="11" y="111"/>
                  <a:pt x="5" y="86"/>
                </a:cubicBezTo>
                <a:cubicBezTo>
                  <a:pt x="0" y="60"/>
                  <a:pt x="12" y="31"/>
                  <a:pt x="33" y="16"/>
                </a:cubicBezTo>
                <a:cubicBezTo>
                  <a:pt x="52" y="2"/>
                  <a:pt x="78" y="0"/>
                  <a:pt x="100" y="9"/>
                </a:cubicBezTo>
                <a:cubicBezTo>
                  <a:pt x="97" y="15"/>
                  <a:pt x="93" y="21"/>
                  <a:pt x="90" y="27"/>
                </a:cubicBezTo>
                <a:cubicBezTo>
                  <a:pt x="97" y="30"/>
                  <a:pt x="103" y="34"/>
                  <a:pt x="108" y="40"/>
                </a:cubicBezTo>
                <a:cubicBezTo>
                  <a:pt x="112" y="34"/>
                  <a:pt x="115" y="28"/>
                  <a:pt x="119" y="22"/>
                </a:cubicBezTo>
                <a:cubicBezTo>
                  <a:pt x="127" y="29"/>
                  <a:pt x="133" y="39"/>
                  <a:pt x="137" y="49"/>
                </a:cubicBezTo>
                <a:cubicBezTo>
                  <a:pt x="138" y="53"/>
                  <a:pt x="139" y="58"/>
                  <a:pt x="143" y="60"/>
                </a:cubicBezTo>
                <a:cubicBezTo>
                  <a:pt x="145" y="61"/>
                  <a:pt x="147" y="61"/>
                  <a:pt x="150" y="61"/>
                </a:cubicBezTo>
                <a:cubicBezTo>
                  <a:pt x="201" y="61"/>
                  <a:pt x="253" y="61"/>
                  <a:pt x="305" y="61"/>
                </a:cubicBezTo>
                <a:cubicBezTo>
                  <a:pt x="304" y="68"/>
                  <a:pt x="304" y="76"/>
                  <a:pt x="305" y="83"/>
                </a:cubicBezTo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5" name="任意多边形: 形状 124"/>
          <p:cNvSpPr/>
          <p:nvPr>
            <p:custDataLst>
              <p:tags r:id="rId15"/>
            </p:custDataLst>
          </p:nvPr>
        </p:nvSpPr>
        <p:spPr bwMode="auto">
          <a:xfrm>
            <a:off x="4098925" y="4983162"/>
            <a:ext cx="1150938" cy="935038"/>
          </a:xfrm>
          <a:custGeom>
            <a:avLst/>
            <a:gdLst>
              <a:gd name="T0" fmla="*/ 82 w 102"/>
              <a:gd name="T1" fmla="*/ 0 h 83"/>
              <a:gd name="T2" fmla="*/ 0 w 102"/>
              <a:gd name="T3" fmla="*/ 48 h 83"/>
              <a:gd name="T4" fmla="*/ 19 w 102"/>
              <a:gd name="T5" fmla="*/ 81 h 83"/>
              <a:gd name="T6" fmla="*/ 29 w 102"/>
              <a:gd name="T7" fmla="*/ 83 h 83"/>
              <a:gd name="T8" fmla="*/ 35 w 102"/>
              <a:gd name="T9" fmla="*/ 83 h 83"/>
              <a:gd name="T10" fmla="*/ 99 w 102"/>
              <a:gd name="T11" fmla="*/ 42 h 83"/>
              <a:gd name="T12" fmla="*/ 102 w 102"/>
              <a:gd name="T13" fmla="*/ 34 h 83"/>
              <a:gd name="T14" fmla="*/ 82 w 102"/>
              <a:gd name="T15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2" h="83">
                <a:moveTo>
                  <a:pt x="82" y="0"/>
                </a:moveTo>
                <a:cubicBezTo>
                  <a:pt x="0" y="48"/>
                  <a:pt x="0" y="48"/>
                  <a:pt x="0" y="48"/>
                </a:cubicBezTo>
                <a:cubicBezTo>
                  <a:pt x="19" y="81"/>
                  <a:pt x="19" y="81"/>
                  <a:pt x="19" y="81"/>
                </a:cubicBezTo>
                <a:cubicBezTo>
                  <a:pt x="23" y="82"/>
                  <a:pt x="26" y="82"/>
                  <a:pt x="29" y="83"/>
                </a:cubicBezTo>
                <a:cubicBezTo>
                  <a:pt x="31" y="83"/>
                  <a:pt x="33" y="83"/>
                  <a:pt x="35" y="83"/>
                </a:cubicBezTo>
                <a:cubicBezTo>
                  <a:pt x="62" y="83"/>
                  <a:pt x="88" y="66"/>
                  <a:pt x="99" y="42"/>
                </a:cubicBezTo>
                <a:cubicBezTo>
                  <a:pt x="100" y="39"/>
                  <a:pt x="101" y="36"/>
                  <a:pt x="102" y="34"/>
                </a:cubicBezTo>
                <a:cubicBezTo>
                  <a:pt x="82" y="0"/>
                  <a:pt x="82" y="0"/>
                  <a:pt x="82" y="0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6" name="任意多边形: 形状 125"/>
          <p:cNvSpPr/>
          <p:nvPr>
            <p:custDataLst>
              <p:tags r:id="rId16"/>
            </p:custDataLst>
          </p:nvPr>
        </p:nvSpPr>
        <p:spPr bwMode="auto">
          <a:xfrm>
            <a:off x="3951288" y="4611687"/>
            <a:ext cx="1106488" cy="1092200"/>
          </a:xfrm>
          <a:custGeom>
            <a:avLst/>
            <a:gdLst>
              <a:gd name="T0" fmla="*/ 98 w 98"/>
              <a:gd name="T1" fmla="*/ 49 h 97"/>
              <a:gd name="T2" fmla="*/ 49 w 98"/>
              <a:gd name="T3" fmla="*/ 97 h 97"/>
              <a:gd name="T4" fmla="*/ 0 w 98"/>
              <a:gd name="T5" fmla="*/ 49 h 97"/>
              <a:gd name="T6" fmla="*/ 49 w 98"/>
              <a:gd name="T7" fmla="*/ 0 h 97"/>
              <a:gd name="T8" fmla="*/ 66 w 98"/>
              <a:gd name="T9" fmla="*/ 3 h 97"/>
              <a:gd name="T10" fmla="*/ 85 w 98"/>
              <a:gd name="T11" fmla="*/ 16 h 97"/>
              <a:gd name="T12" fmla="*/ 98 w 98"/>
              <a:gd name="T13" fmla="*/ 49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8" h="97">
                <a:moveTo>
                  <a:pt x="98" y="49"/>
                </a:moveTo>
                <a:cubicBezTo>
                  <a:pt x="98" y="76"/>
                  <a:pt x="76" y="97"/>
                  <a:pt x="49" y="97"/>
                </a:cubicBezTo>
                <a:cubicBezTo>
                  <a:pt x="22" y="97"/>
                  <a:pt x="0" y="76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4" y="6"/>
                  <a:pt x="80" y="10"/>
                  <a:pt x="85" y="16"/>
                </a:cubicBezTo>
                <a:cubicBezTo>
                  <a:pt x="93" y="25"/>
                  <a:pt x="98" y="36"/>
                  <a:pt x="98" y="4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7" name="任意多边形: 形状 126"/>
          <p:cNvSpPr/>
          <p:nvPr>
            <p:custDataLst>
              <p:tags r:id="rId17"/>
            </p:custDataLst>
          </p:nvPr>
        </p:nvSpPr>
        <p:spPr bwMode="auto">
          <a:xfrm>
            <a:off x="8218488" y="5467349"/>
            <a:ext cx="146050" cy="225425"/>
          </a:xfrm>
          <a:custGeom>
            <a:avLst/>
            <a:gdLst>
              <a:gd name="T0" fmla="*/ 13 w 13"/>
              <a:gd name="T1" fmla="*/ 0 h 20"/>
              <a:gd name="T2" fmla="*/ 0 w 13"/>
              <a:gd name="T3" fmla="*/ 20 h 20"/>
              <a:gd name="T4" fmla="*/ 13 w 13"/>
              <a:gd name="T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20">
                <a:moveTo>
                  <a:pt x="13" y="0"/>
                </a:moveTo>
                <a:cubicBezTo>
                  <a:pt x="10" y="8"/>
                  <a:pt x="5" y="14"/>
                  <a:pt x="0" y="20"/>
                </a:cubicBezTo>
                <a:cubicBezTo>
                  <a:pt x="5" y="14"/>
                  <a:pt x="10" y="8"/>
                  <a:pt x="13" y="0"/>
                </a:cubicBezTo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8" name="任意多边形: 形状 127"/>
          <p:cNvSpPr/>
          <p:nvPr>
            <p:custDataLst>
              <p:tags r:id="rId18"/>
            </p:custDataLst>
          </p:nvPr>
        </p:nvSpPr>
        <p:spPr bwMode="auto">
          <a:xfrm>
            <a:off x="7180263" y="4825999"/>
            <a:ext cx="1228725" cy="1103313"/>
          </a:xfrm>
          <a:custGeom>
            <a:avLst/>
            <a:gdLst>
              <a:gd name="T0" fmla="*/ 82 w 109"/>
              <a:gd name="T1" fmla="*/ 3 h 98"/>
              <a:gd name="T2" fmla="*/ 1 w 109"/>
              <a:gd name="T3" fmla="*/ 51 h 98"/>
              <a:gd name="T4" fmla="*/ 27 w 109"/>
              <a:gd name="T5" fmla="*/ 96 h 98"/>
              <a:gd name="T6" fmla="*/ 42 w 109"/>
              <a:gd name="T7" fmla="*/ 98 h 98"/>
              <a:gd name="T8" fmla="*/ 92 w 109"/>
              <a:gd name="T9" fmla="*/ 77 h 98"/>
              <a:gd name="T10" fmla="*/ 105 w 109"/>
              <a:gd name="T11" fmla="*/ 57 h 98"/>
              <a:gd name="T12" fmla="*/ 109 w 109"/>
              <a:gd name="T13" fmla="*/ 48 h 98"/>
              <a:gd name="T14" fmla="*/ 109 w 109"/>
              <a:gd name="T15" fmla="*/ 47 h 98"/>
              <a:gd name="T16" fmla="*/ 82 w 109"/>
              <a:gd name="T17" fmla="*/ 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9" h="98">
                <a:moveTo>
                  <a:pt x="82" y="3"/>
                </a:moveTo>
                <a:cubicBezTo>
                  <a:pt x="48" y="23"/>
                  <a:pt x="5" y="49"/>
                  <a:pt x="1" y="51"/>
                </a:cubicBezTo>
                <a:cubicBezTo>
                  <a:pt x="3" y="55"/>
                  <a:pt x="0" y="50"/>
                  <a:pt x="27" y="96"/>
                </a:cubicBezTo>
                <a:cubicBezTo>
                  <a:pt x="32" y="97"/>
                  <a:pt x="37" y="98"/>
                  <a:pt x="42" y="98"/>
                </a:cubicBezTo>
                <a:cubicBezTo>
                  <a:pt x="61" y="98"/>
                  <a:pt x="79" y="90"/>
                  <a:pt x="92" y="77"/>
                </a:cubicBezTo>
                <a:cubicBezTo>
                  <a:pt x="97" y="71"/>
                  <a:pt x="102" y="65"/>
                  <a:pt x="105" y="57"/>
                </a:cubicBezTo>
                <a:cubicBezTo>
                  <a:pt x="107" y="54"/>
                  <a:pt x="108" y="51"/>
                  <a:pt x="109" y="48"/>
                </a:cubicBezTo>
                <a:cubicBezTo>
                  <a:pt x="109" y="47"/>
                  <a:pt x="109" y="47"/>
                  <a:pt x="109" y="47"/>
                </a:cubicBezTo>
                <a:cubicBezTo>
                  <a:pt x="80" y="0"/>
                  <a:pt x="85" y="7"/>
                  <a:pt x="82" y="3"/>
                </a:cubicBez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29" name="任意多边形: 形状 128"/>
          <p:cNvSpPr/>
          <p:nvPr>
            <p:custDataLst>
              <p:tags r:id="rId19"/>
            </p:custDataLst>
          </p:nvPr>
        </p:nvSpPr>
        <p:spPr bwMode="auto">
          <a:xfrm>
            <a:off x="7123113" y="4622799"/>
            <a:ext cx="1071563" cy="1058863"/>
          </a:xfrm>
          <a:custGeom>
            <a:avLst/>
            <a:gdLst>
              <a:gd name="T0" fmla="*/ 95 w 95"/>
              <a:gd name="T1" fmla="*/ 47 h 94"/>
              <a:gd name="T2" fmla="*/ 48 w 95"/>
              <a:gd name="T3" fmla="*/ 94 h 94"/>
              <a:gd name="T4" fmla="*/ 2 w 95"/>
              <a:gd name="T5" fmla="*/ 58 h 94"/>
              <a:gd name="T6" fmla="*/ 0 w 95"/>
              <a:gd name="T7" fmla="*/ 47 h 94"/>
              <a:gd name="T8" fmla="*/ 2 w 95"/>
              <a:gd name="T9" fmla="*/ 36 h 94"/>
              <a:gd name="T10" fmla="*/ 48 w 95"/>
              <a:gd name="T11" fmla="*/ 0 h 94"/>
              <a:gd name="T12" fmla="*/ 95 w 95"/>
              <a:gd name="T13" fmla="*/ 47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5" h="94">
                <a:moveTo>
                  <a:pt x="95" y="47"/>
                </a:moveTo>
                <a:cubicBezTo>
                  <a:pt x="95" y="73"/>
                  <a:pt x="74" y="94"/>
                  <a:pt x="48" y="94"/>
                </a:cubicBezTo>
                <a:cubicBezTo>
                  <a:pt x="25" y="94"/>
                  <a:pt x="7" y="79"/>
                  <a:pt x="2" y="58"/>
                </a:cubicBezTo>
                <a:cubicBezTo>
                  <a:pt x="1" y="55"/>
                  <a:pt x="0" y="51"/>
                  <a:pt x="0" y="47"/>
                </a:cubicBezTo>
                <a:cubicBezTo>
                  <a:pt x="0" y="43"/>
                  <a:pt x="1" y="39"/>
                  <a:pt x="2" y="36"/>
                </a:cubicBezTo>
                <a:cubicBezTo>
                  <a:pt x="7" y="15"/>
                  <a:pt x="25" y="0"/>
                  <a:pt x="48" y="0"/>
                </a:cubicBezTo>
                <a:cubicBezTo>
                  <a:pt x="74" y="0"/>
                  <a:pt x="95" y="21"/>
                  <a:pt x="95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30" name="任意多边形: 形状 129"/>
          <p:cNvSpPr/>
          <p:nvPr>
            <p:custDataLst>
              <p:tags r:id="rId20"/>
            </p:custDataLst>
          </p:nvPr>
        </p:nvSpPr>
        <p:spPr>
          <a:xfrm>
            <a:off x="5758657" y="2442815"/>
            <a:ext cx="515936" cy="41083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31" name="任意多边形: 形状 130"/>
          <p:cNvSpPr/>
          <p:nvPr>
            <p:custDataLst>
              <p:tags r:id="rId21"/>
            </p:custDataLst>
          </p:nvPr>
        </p:nvSpPr>
        <p:spPr>
          <a:xfrm>
            <a:off x="4246563" y="4910777"/>
            <a:ext cx="515936" cy="506723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32" name="任意多边形: 形状 131"/>
          <p:cNvSpPr/>
          <p:nvPr>
            <p:custDataLst>
              <p:tags r:id="rId22"/>
            </p:custDataLst>
          </p:nvPr>
        </p:nvSpPr>
        <p:spPr>
          <a:xfrm>
            <a:off x="7419004" y="4906170"/>
            <a:ext cx="479779" cy="515936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03" name="矩形 102"/>
          <p:cNvSpPr/>
          <p:nvPr>
            <p:custDataLst>
              <p:tags r:id="rId23"/>
            </p:custDataLst>
          </p:nvPr>
        </p:nvSpPr>
        <p:spPr>
          <a:xfrm>
            <a:off x="4857654" y="3946397"/>
            <a:ext cx="2376410" cy="72097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4400">
              <a:defRPr/>
            </a:pPr>
            <a:r>
              <a:rPr lang="en-US" altLang="zh-CN" sz="2000" b="1" i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04" name="矩形 103"/>
          <p:cNvSpPr/>
          <p:nvPr>
            <p:custDataLst>
              <p:tags r:id="rId24"/>
            </p:custDataLst>
          </p:nvPr>
        </p:nvSpPr>
        <p:spPr>
          <a:xfrm>
            <a:off x="673100" y="4809706"/>
            <a:ext cx="2838450" cy="4338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066800">
              <a:spcBef>
                <a:spcPct val="0"/>
              </a:spcBef>
              <a:spcAft>
                <a:spcPts val="600"/>
              </a:spcAft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05" name="文本框 104"/>
          <p:cNvSpPr txBox="1"/>
          <p:nvPr>
            <p:custDataLst>
              <p:tags r:id="rId25"/>
            </p:custDataLst>
          </p:nvPr>
        </p:nvSpPr>
        <p:spPr>
          <a:xfrm>
            <a:off x="673100" y="5243512"/>
            <a:ext cx="2838450" cy="7588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50000"/>
              </a:lnSpc>
              <a:defRPr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106" name="矩形 105"/>
          <p:cNvSpPr/>
          <p:nvPr>
            <p:custDataLst>
              <p:tags r:id="rId26"/>
            </p:custDataLst>
          </p:nvPr>
        </p:nvSpPr>
        <p:spPr>
          <a:xfrm>
            <a:off x="8686801" y="4809706"/>
            <a:ext cx="2838450" cy="4338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1066800">
              <a:spcBef>
                <a:spcPct val="0"/>
              </a:spcBef>
              <a:spcAft>
                <a:spcPts val="600"/>
              </a:spcAft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07" name="文本框 106"/>
          <p:cNvSpPr txBox="1"/>
          <p:nvPr>
            <p:custDataLst>
              <p:tags r:id="rId27"/>
            </p:custDataLst>
          </p:nvPr>
        </p:nvSpPr>
        <p:spPr>
          <a:xfrm>
            <a:off x="8686801" y="5243512"/>
            <a:ext cx="2838450" cy="7588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lnSpc>
                <a:spcPct val="150000"/>
              </a:lnSpc>
              <a:defRPr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108" name="矩形 107"/>
          <p:cNvSpPr/>
          <p:nvPr>
            <p:custDataLst>
              <p:tags r:id="rId28"/>
            </p:custDataLst>
          </p:nvPr>
        </p:nvSpPr>
        <p:spPr>
          <a:xfrm>
            <a:off x="7180262" y="2234775"/>
            <a:ext cx="3335337" cy="4338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066800">
              <a:spcBef>
                <a:spcPct val="0"/>
              </a:spcBef>
              <a:spcAft>
                <a:spcPts val="600"/>
              </a:spcAft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09" name="文本框 108"/>
          <p:cNvSpPr txBox="1"/>
          <p:nvPr>
            <p:custDataLst>
              <p:tags r:id="rId29"/>
            </p:custDataLst>
          </p:nvPr>
        </p:nvSpPr>
        <p:spPr>
          <a:xfrm>
            <a:off x="7180262" y="2668581"/>
            <a:ext cx="3335337" cy="7588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50000"/>
              </a:lnSpc>
              <a:defRPr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110" name="文本框 109"/>
          <p:cNvSpPr txBox="1"/>
          <p:nvPr>
            <p:custDataLst>
              <p:tags r:id="rId30"/>
            </p:custDataLst>
          </p:nvPr>
        </p:nvSpPr>
        <p:spPr>
          <a:xfrm>
            <a:off x="673102" y="1130300"/>
            <a:ext cx="4479924" cy="104217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en-US" sz="2800" b="1" dirty="0">
                <a:solidFill>
                  <a:schemeClr val="dk1"/>
                </a:solidFill>
                <a:cs typeface="+mn-ea"/>
                <a:sym typeface="+mn-lt"/>
              </a:rPr>
              <a:t>Unified fonts make reading more fluent.</a:t>
            </a:r>
          </a:p>
        </p:txBody>
      </p:sp>
      <p:sp>
        <p:nvSpPr>
          <p:cNvPr id="111" name="文本框 110"/>
          <p:cNvSpPr txBox="1"/>
          <p:nvPr>
            <p:custDataLst>
              <p:tags r:id="rId31"/>
            </p:custDataLst>
          </p:nvPr>
        </p:nvSpPr>
        <p:spPr>
          <a:xfrm>
            <a:off x="673100" y="2172472"/>
            <a:ext cx="4479925" cy="1042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solidFill>
                  <a:schemeClr val="dk1"/>
                </a:solidFill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solidFill>
                  <a:schemeClr val="dk1"/>
                </a:solidFill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123" name="任意多边形: 形状 122"/>
          <p:cNvSpPr/>
          <p:nvPr>
            <p:custDataLst>
              <p:tags r:id="rId2"/>
            </p:custDataLst>
          </p:nvPr>
        </p:nvSpPr>
        <p:spPr bwMode="auto">
          <a:xfrm>
            <a:off x="4576734" y="3584165"/>
            <a:ext cx="3038533" cy="696182"/>
          </a:xfrm>
          <a:custGeom>
            <a:avLst/>
            <a:gdLst>
              <a:gd name="T0" fmla="*/ 2154 w 2562"/>
              <a:gd name="T1" fmla="*/ 0 h 587"/>
              <a:gd name="T2" fmla="*/ 408 w 2562"/>
              <a:gd name="T3" fmla="*/ 0 h 587"/>
              <a:gd name="T4" fmla="*/ 0 w 2562"/>
              <a:gd name="T5" fmla="*/ 587 h 587"/>
              <a:gd name="T6" fmla="*/ 2562 w 2562"/>
              <a:gd name="T7" fmla="*/ 587 h 587"/>
              <a:gd name="T8" fmla="*/ 2154 w 2562"/>
              <a:gd name="T9" fmla="*/ 0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62" h="587">
                <a:moveTo>
                  <a:pt x="2154" y="0"/>
                </a:moveTo>
                <a:lnTo>
                  <a:pt x="408" y="0"/>
                </a:lnTo>
                <a:lnTo>
                  <a:pt x="0" y="587"/>
                </a:lnTo>
                <a:lnTo>
                  <a:pt x="2562" y="587"/>
                </a:lnTo>
                <a:lnTo>
                  <a:pt x="215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>
                <a:solidFill>
                  <a:srgbClr val="FFFFFF"/>
                </a:solidFill>
                <a:cs typeface="+mn-ea"/>
                <a:sym typeface="+mn-lt"/>
              </a:rPr>
              <a:t>2</a:t>
            </a:r>
            <a:endParaRPr lang="en-US" altLang="zh-CN" sz="2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4" name="任意多边形: 形状 123"/>
          <p:cNvSpPr/>
          <p:nvPr>
            <p:custDataLst>
              <p:tags r:id="rId3"/>
            </p:custDataLst>
          </p:nvPr>
        </p:nvSpPr>
        <p:spPr bwMode="auto">
          <a:xfrm>
            <a:off x="3943410" y="4987203"/>
            <a:ext cx="4305180" cy="527770"/>
          </a:xfrm>
          <a:custGeom>
            <a:avLst/>
            <a:gdLst>
              <a:gd name="T0" fmla="*/ 306 w 3630"/>
              <a:gd name="T1" fmla="*/ 0 h 445"/>
              <a:gd name="T2" fmla="*/ 0 w 3630"/>
              <a:gd name="T3" fmla="*/ 445 h 445"/>
              <a:gd name="T4" fmla="*/ 3630 w 3630"/>
              <a:gd name="T5" fmla="*/ 445 h 445"/>
              <a:gd name="T6" fmla="*/ 3324 w 3630"/>
              <a:gd name="T7" fmla="*/ 0 h 445"/>
              <a:gd name="T8" fmla="*/ 306 w 3630"/>
              <a:gd name="T9" fmla="*/ 0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0" h="445">
                <a:moveTo>
                  <a:pt x="306" y="0"/>
                </a:moveTo>
                <a:lnTo>
                  <a:pt x="0" y="445"/>
                </a:lnTo>
                <a:lnTo>
                  <a:pt x="3630" y="445"/>
                </a:lnTo>
                <a:lnTo>
                  <a:pt x="3324" y="0"/>
                </a:lnTo>
                <a:lnTo>
                  <a:pt x="306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</a:p>
        </p:txBody>
      </p:sp>
      <p:sp>
        <p:nvSpPr>
          <p:cNvPr id="125" name="任意多边形: 形状 124"/>
          <p:cNvSpPr/>
          <p:nvPr>
            <p:custDataLst>
              <p:tags r:id="rId4"/>
            </p:custDataLst>
          </p:nvPr>
        </p:nvSpPr>
        <p:spPr bwMode="auto">
          <a:xfrm>
            <a:off x="5332216" y="1749423"/>
            <a:ext cx="1527568" cy="1113654"/>
          </a:xfrm>
          <a:custGeom>
            <a:avLst/>
            <a:gdLst>
              <a:gd name="T0" fmla="*/ 1288 w 1288"/>
              <a:gd name="T1" fmla="*/ 939 h 939"/>
              <a:gd name="T2" fmla="*/ 644 w 1288"/>
              <a:gd name="T3" fmla="*/ 0 h 939"/>
              <a:gd name="T4" fmla="*/ 0 w 1288"/>
              <a:gd name="T5" fmla="*/ 939 h 939"/>
              <a:gd name="T6" fmla="*/ 1288 w 1288"/>
              <a:gd name="T7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8" h="939">
                <a:moveTo>
                  <a:pt x="1288" y="939"/>
                </a:moveTo>
                <a:lnTo>
                  <a:pt x="644" y="0"/>
                </a:lnTo>
                <a:lnTo>
                  <a:pt x="0" y="939"/>
                </a:lnTo>
                <a:lnTo>
                  <a:pt x="1288" y="93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b="1">
                <a:solidFill>
                  <a:srgbClr val="FFFFFF"/>
                </a:solidFill>
                <a:cs typeface="+mn-ea"/>
                <a:sym typeface="+mn-lt"/>
              </a:rPr>
              <a:t>1</a:t>
            </a:r>
            <a:endParaRPr lang="en-US" altLang="zh-CN" sz="2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53" name="任意多边形: 形状 152"/>
          <p:cNvSpPr/>
          <p:nvPr>
            <p:custDataLst>
              <p:tags r:id="rId5"/>
            </p:custDataLst>
          </p:nvPr>
        </p:nvSpPr>
        <p:spPr bwMode="auto">
          <a:xfrm>
            <a:off x="4917868" y="4300515"/>
            <a:ext cx="422169" cy="672462"/>
          </a:xfrm>
          <a:custGeom>
            <a:avLst/>
            <a:gdLst>
              <a:gd name="connsiteX0" fmla="*/ 206920 w 410656"/>
              <a:gd name="connsiteY0" fmla="*/ 27688 h 654123"/>
              <a:gd name="connsiteX1" fmla="*/ 265757 w 410656"/>
              <a:gd name="connsiteY1" fmla="*/ 86525 h 654123"/>
              <a:gd name="connsiteX2" fmla="*/ 206920 w 410656"/>
              <a:gd name="connsiteY2" fmla="*/ 145362 h 654123"/>
              <a:gd name="connsiteX3" fmla="*/ 148083 w 410656"/>
              <a:gd name="connsiteY3" fmla="*/ 86525 h 654123"/>
              <a:gd name="connsiteX4" fmla="*/ 206920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7688"/>
                </a:moveTo>
                <a:cubicBezTo>
                  <a:pt x="239415" y="27688"/>
                  <a:pt x="265757" y="54030"/>
                  <a:pt x="265757" y="86525"/>
                </a:cubicBezTo>
                <a:cubicBezTo>
                  <a:pt x="265757" y="119020"/>
                  <a:pt x="239415" y="145362"/>
                  <a:pt x="206920" y="145362"/>
                </a:cubicBezTo>
                <a:cubicBezTo>
                  <a:pt x="174425" y="145362"/>
                  <a:pt x="148083" y="119020"/>
                  <a:pt x="148083" y="86525"/>
                </a:cubicBezTo>
                <a:cubicBezTo>
                  <a:pt x="148083" y="54030"/>
                  <a:pt x="174425" y="27688"/>
                  <a:pt x="206920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3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4" name="任意多边形: 形状 153"/>
          <p:cNvSpPr/>
          <p:nvPr>
            <p:custDataLst>
              <p:tags r:id="rId6"/>
            </p:custDataLst>
          </p:nvPr>
        </p:nvSpPr>
        <p:spPr bwMode="auto">
          <a:xfrm>
            <a:off x="4531228" y="4300515"/>
            <a:ext cx="420992" cy="672462"/>
          </a:xfrm>
          <a:custGeom>
            <a:avLst/>
            <a:gdLst>
              <a:gd name="connsiteX0" fmla="*/ 206925 w 409511"/>
              <a:gd name="connsiteY0" fmla="*/ 27688 h 654123"/>
              <a:gd name="connsiteX1" fmla="*/ 265762 w 409511"/>
              <a:gd name="connsiteY1" fmla="*/ 86525 h 654123"/>
              <a:gd name="connsiteX2" fmla="*/ 206925 w 409511"/>
              <a:gd name="connsiteY2" fmla="*/ 145362 h 654123"/>
              <a:gd name="connsiteX3" fmla="*/ 148088 w 409511"/>
              <a:gd name="connsiteY3" fmla="*/ 86525 h 654123"/>
              <a:gd name="connsiteX4" fmla="*/ 206925 w 409511"/>
              <a:gd name="connsiteY4" fmla="*/ 27688 h 654123"/>
              <a:gd name="connsiteX5" fmla="*/ 12193 w 409511"/>
              <a:gd name="connsiteY5" fmla="*/ 0 h 654123"/>
              <a:gd name="connsiteX6" fmla="*/ 21579 w 409511"/>
              <a:gd name="connsiteY6" fmla="*/ 0 h 654123"/>
              <a:gd name="connsiteX7" fmla="*/ 40352 w 409511"/>
              <a:gd name="connsiteY7" fmla="*/ 9412 h 654123"/>
              <a:gd name="connsiteX8" fmla="*/ 138911 w 409511"/>
              <a:gd name="connsiteY8" fmla="*/ 160002 h 654123"/>
              <a:gd name="connsiteX9" fmla="*/ 270324 w 409511"/>
              <a:gd name="connsiteY9" fmla="*/ 160002 h 654123"/>
              <a:gd name="connsiteX10" fmla="*/ 373576 w 409511"/>
              <a:gd name="connsiteY10" fmla="*/ 9412 h 654123"/>
              <a:gd name="connsiteX11" fmla="*/ 387656 w 409511"/>
              <a:gd name="connsiteY11" fmla="*/ 0 h 654123"/>
              <a:gd name="connsiteX12" fmla="*/ 401736 w 409511"/>
              <a:gd name="connsiteY12" fmla="*/ 0 h 654123"/>
              <a:gd name="connsiteX13" fmla="*/ 406429 w 409511"/>
              <a:gd name="connsiteY13" fmla="*/ 32942 h 654123"/>
              <a:gd name="connsiteX14" fmla="*/ 298483 w 409511"/>
              <a:gd name="connsiteY14" fmla="*/ 192943 h 654123"/>
              <a:gd name="connsiteX15" fmla="*/ 284404 w 409511"/>
              <a:gd name="connsiteY15" fmla="*/ 202355 h 654123"/>
              <a:gd name="connsiteX16" fmla="*/ 275017 w 409511"/>
              <a:gd name="connsiteY16" fmla="*/ 202355 h 654123"/>
              <a:gd name="connsiteX17" fmla="*/ 275017 w 409511"/>
              <a:gd name="connsiteY17" fmla="*/ 621182 h 654123"/>
              <a:gd name="connsiteX18" fmla="*/ 242164 w 409511"/>
              <a:gd name="connsiteY18" fmla="*/ 654123 h 654123"/>
              <a:gd name="connsiteX19" fmla="*/ 209311 w 409511"/>
              <a:gd name="connsiteY19" fmla="*/ 621182 h 654123"/>
              <a:gd name="connsiteX20" fmla="*/ 209311 w 409511"/>
              <a:gd name="connsiteY20" fmla="*/ 381180 h 654123"/>
              <a:gd name="connsiteX21" fmla="*/ 199924 w 409511"/>
              <a:gd name="connsiteY21" fmla="*/ 381180 h 654123"/>
              <a:gd name="connsiteX22" fmla="*/ 199924 w 409511"/>
              <a:gd name="connsiteY22" fmla="*/ 621182 h 654123"/>
              <a:gd name="connsiteX23" fmla="*/ 167071 w 409511"/>
              <a:gd name="connsiteY23" fmla="*/ 654123 h 654123"/>
              <a:gd name="connsiteX24" fmla="*/ 134218 w 409511"/>
              <a:gd name="connsiteY24" fmla="*/ 621182 h 654123"/>
              <a:gd name="connsiteX25" fmla="*/ 134218 w 409511"/>
              <a:gd name="connsiteY25" fmla="*/ 202355 h 654123"/>
              <a:gd name="connsiteX26" fmla="*/ 129525 w 409511"/>
              <a:gd name="connsiteY26" fmla="*/ 202355 h 654123"/>
              <a:gd name="connsiteX27" fmla="*/ 110752 w 409511"/>
              <a:gd name="connsiteY27" fmla="*/ 192943 h 654123"/>
              <a:gd name="connsiteX28" fmla="*/ 2806 w 409511"/>
              <a:gd name="connsiteY28" fmla="*/ 32942 h 654123"/>
              <a:gd name="connsiteX29" fmla="*/ 12193 w 409511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09511" h="654123">
                <a:moveTo>
                  <a:pt x="206925" y="27688"/>
                </a:moveTo>
                <a:cubicBezTo>
                  <a:pt x="239420" y="27688"/>
                  <a:pt x="265762" y="54030"/>
                  <a:pt x="265762" y="86525"/>
                </a:cubicBezTo>
                <a:cubicBezTo>
                  <a:pt x="265762" y="119020"/>
                  <a:pt x="239420" y="145362"/>
                  <a:pt x="206925" y="145362"/>
                </a:cubicBezTo>
                <a:cubicBezTo>
                  <a:pt x="174430" y="145362"/>
                  <a:pt x="148088" y="119020"/>
                  <a:pt x="148088" y="86525"/>
                </a:cubicBezTo>
                <a:cubicBezTo>
                  <a:pt x="148088" y="54030"/>
                  <a:pt x="174430" y="27688"/>
                  <a:pt x="206925" y="27688"/>
                </a:cubicBezTo>
                <a:close/>
                <a:moveTo>
                  <a:pt x="12193" y="0"/>
                </a:moveTo>
                <a:cubicBezTo>
                  <a:pt x="12193" y="0"/>
                  <a:pt x="16886" y="0"/>
                  <a:pt x="21579" y="0"/>
                </a:cubicBezTo>
                <a:cubicBezTo>
                  <a:pt x="26272" y="0"/>
                  <a:pt x="35659" y="0"/>
                  <a:pt x="40352" y="9412"/>
                </a:cubicBezTo>
                <a:cubicBezTo>
                  <a:pt x="40352" y="9412"/>
                  <a:pt x="40352" y="9412"/>
                  <a:pt x="138911" y="160002"/>
                </a:cubicBezTo>
                <a:cubicBezTo>
                  <a:pt x="138911" y="160002"/>
                  <a:pt x="138911" y="160002"/>
                  <a:pt x="270324" y="160002"/>
                </a:cubicBezTo>
                <a:cubicBezTo>
                  <a:pt x="270324" y="160002"/>
                  <a:pt x="270324" y="160002"/>
                  <a:pt x="373576" y="9412"/>
                </a:cubicBezTo>
                <a:cubicBezTo>
                  <a:pt x="373576" y="0"/>
                  <a:pt x="382963" y="0"/>
                  <a:pt x="387656" y="0"/>
                </a:cubicBezTo>
                <a:cubicBezTo>
                  <a:pt x="392349" y="0"/>
                  <a:pt x="397042" y="0"/>
                  <a:pt x="401736" y="0"/>
                </a:cubicBezTo>
                <a:cubicBezTo>
                  <a:pt x="411122" y="9412"/>
                  <a:pt x="411122" y="23529"/>
                  <a:pt x="406429" y="32942"/>
                </a:cubicBezTo>
                <a:cubicBezTo>
                  <a:pt x="406429" y="32942"/>
                  <a:pt x="406429" y="32942"/>
                  <a:pt x="298483" y="192943"/>
                </a:cubicBezTo>
                <a:cubicBezTo>
                  <a:pt x="293790" y="197649"/>
                  <a:pt x="289097" y="202355"/>
                  <a:pt x="284404" y="202355"/>
                </a:cubicBezTo>
                <a:cubicBezTo>
                  <a:pt x="284404" y="202355"/>
                  <a:pt x="284404" y="202355"/>
                  <a:pt x="275017" y="202355"/>
                </a:cubicBezTo>
                <a:cubicBezTo>
                  <a:pt x="275017" y="202355"/>
                  <a:pt x="275017" y="202355"/>
                  <a:pt x="275017" y="621182"/>
                </a:cubicBezTo>
                <a:cubicBezTo>
                  <a:pt x="275017" y="635300"/>
                  <a:pt x="260937" y="654123"/>
                  <a:pt x="242164" y="654123"/>
                </a:cubicBezTo>
                <a:cubicBezTo>
                  <a:pt x="228084" y="654123"/>
                  <a:pt x="209311" y="635300"/>
                  <a:pt x="209311" y="621182"/>
                </a:cubicBezTo>
                <a:cubicBezTo>
                  <a:pt x="209311" y="621182"/>
                  <a:pt x="209311" y="621182"/>
                  <a:pt x="209311" y="381180"/>
                </a:cubicBezTo>
                <a:cubicBezTo>
                  <a:pt x="209311" y="381180"/>
                  <a:pt x="209311" y="381180"/>
                  <a:pt x="199924" y="381180"/>
                </a:cubicBezTo>
                <a:cubicBezTo>
                  <a:pt x="199924" y="381180"/>
                  <a:pt x="199924" y="381180"/>
                  <a:pt x="199924" y="621182"/>
                </a:cubicBezTo>
                <a:cubicBezTo>
                  <a:pt x="199924" y="635300"/>
                  <a:pt x="185845" y="654123"/>
                  <a:pt x="167071" y="654123"/>
                </a:cubicBezTo>
                <a:cubicBezTo>
                  <a:pt x="148298" y="654123"/>
                  <a:pt x="134218" y="635300"/>
                  <a:pt x="134218" y="621182"/>
                </a:cubicBezTo>
                <a:cubicBezTo>
                  <a:pt x="134218" y="621182"/>
                  <a:pt x="134218" y="621182"/>
                  <a:pt x="134218" y="202355"/>
                </a:cubicBezTo>
                <a:cubicBezTo>
                  <a:pt x="134218" y="202355"/>
                  <a:pt x="134218" y="202355"/>
                  <a:pt x="129525" y="202355"/>
                </a:cubicBezTo>
                <a:cubicBezTo>
                  <a:pt x="120138" y="202355"/>
                  <a:pt x="115445" y="197649"/>
                  <a:pt x="110752" y="192943"/>
                </a:cubicBezTo>
                <a:cubicBezTo>
                  <a:pt x="110752" y="192943"/>
                  <a:pt x="110752" y="192943"/>
                  <a:pt x="2806" y="32942"/>
                </a:cubicBezTo>
                <a:cubicBezTo>
                  <a:pt x="-1887" y="23529"/>
                  <a:pt x="-1887" y="9412"/>
                  <a:pt x="1219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5" name="任意多边形: 形状 154"/>
          <p:cNvSpPr/>
          <p:nvPr>
            <p:custDataLst>
              <p:tags r:id="rId7"/>
            </p:custDataLst>
          </p:nvPr>
        </p:nvSpPr>
        <p:spPr bwMode="auto">
          <a:xfrm>
            <a:off x="5304504" y="4300515"/>
            <a:ext cx="422169" cy="672462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6" name="任意多边形: 形状 155"/>
          <p:cNvSpPr/>
          <p:nvPr>
            <p:custDataLst>
              <p:tags r:id="rId8"/>
            </p:custDataLst>
          </p:nvPr>
        </p:nvSpPr>
        <p:spPr bwMode="auto">
          <a:xfrm>
            <a:off x="5691140" y="4300515"/>
            <a:ext cx="422169" cy="672462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7" name="任意多边形: 形状 156"/>
          <p:cNvSpPr/>
          <p:nvPr>
            <p:custDataLst>
              <p:tags r:id="rId9"/>
            </p:custDataLst>
          </p:nvPr>
        </p:nvSpPr>
        <p:spPr bwMode="auto">
          <a:xfrm>
            <a:off x="6078962" y="4300515"/>
            <a:ext cx="422169" cy="672462"/>
          </a:xfrm>
          <a:custGeom>
            <a:avLst/>
            <a:gdLst>
              <a:gd name="connsiteX0" fmla="*/ 206920 w 410656"/>
              <a:gd name="connsiteY0" fmla="*/ 27688 h 654123"/>
              <a:gd name="connsiteX1" fmla="*/ 265757 w 410656"/>
              <a:gd name="connsiteY1" fmla="*/ 86525 h 654123"/>
              <a:gd name="connsiteX2" fmla="*/ 206920 w 410656"/>
              <a:gd name="connsiteY2" fmla="*/ 145362 h 654123"/>
              <a:gd name="connsiteX3" fmla="*/ 148083 w 410656"/>
              <a:gd name="connsiteY3" fmla="*/ 86525 h 654123"/>
              <a:gd name="connsiteX4" fmla="*/ 206920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7688"/>
                </a:moveTo>
                <a:cubicBezTo>
                  <a:pt x="239415" y="27688"/>
                  <a:pt x="265757" y="54030"/>
                  <a:pt x="265757" y="86525"/>
                </a:cubicBezTo>
                <a:cubicBezTo>
                  <a:pt x="265757" y="119020"/>
                  <a:pt x="239415" y="145362"/>
                  <a:pt x="206920" y="145362"/>
                </a:cubicBezTo>
                <a:cubicBezTo>
                  <a:pt x="174425" y="145362"/>
                  <a:pt x="148083" y="119020"/>
                  <a:pt x="148083" y="86525"/>
                </a:cubicBezTo>
                <a:cubicBezTo>
                  <a:pt x="148083" y="54030"/>
                  <a:pt x="174425" y="27688"/>
                  <a:pt x="206920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3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8" name="任意多边形: 形状 157"/>
          <p:cNvSpPr/>
          <p:nvPr>
            <p:custDataLst>
              <p:tags r:id="rId10"/>
            </p:custDataLst>
          </p:nvPr>
        </p:nvSpPr>
        <p:spPr bwMode="auto">
          <a:xfrm>
            <a:off x="6465598" y="4300515"/>
            <a:ext cx="422169" cy="672462"/>
          </a:xfrm>
          <a:custGeom>
            <a:avLst/>
            <a:gdLst>
              <a:gd name="connsiteX0" fmla="*/ 206920 w 410656"/>
              <a:gd name="connsiteY0" fmla="*/ 27688 h 654123"/>
              <a:gd name="connsiteX1" fmla="*/ 265757 w 410656"/>
              <a:gd name="connsiteY1" fmla="*/ 86525 h 654123"/>
              <a:gd name="connsiteX2" fmla="*/ 206920 w 410656"/>
              <a:gd name="connsiteY2" fmla="*/ 145362 h 654123"/>
              <a:gd name="connsiteX3" fmla="*/ 148083 w 410656"/>
              <a:gd name="connsiteY3" fmla="*/ 86525 h 654123"/>
              <a:gd name="connsiteX4" fmla="*/ 206920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7688"/>
                </a:moveTo>
                <a:cubicBezTo>
                  <a:pt x="239415" y="27688"/>
                  <a:pt x="265757" y="54030"/>
                  <a:pt x="265757" y="86525"/>
                </a:cubicBezTo>
                <a:cubicBezTo>
                  <a:pt x="265757" y="119020"/>
                  <a:pt x="239415" y="145362"/>
                  <a:pt x="206920" y="145362"/>
                </a:cubicBezTo>
                <a:cubicBezTo>
                  <a:pt x="174425" y="145362"/>
                  <a:pt x="148083" y="119020"/>
                  <a:pt x="148083" y="86525"/>
                </a:cubicBezTo>
                <a:cubicBezTo>
                  <a:pt x="148083" y="54030"/>
                  <a:pt x="174425" y="27688"/>
                  <a:pt x="206920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3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9" name="任意多边形: 形状 158"/>
          <p:cNvSpPr/>
          <p:nvPr>
            <p:custDataLst>
              <p:tags r:id="rId11"/>
            </p:custDataLst>
          </p:nvPr>
        </p:nvSpPr>
        <p:spPr bwMode="auto">
          <a:xfrm>
            <a:off x="6852234" y="4300515"/>
            <a:ext cx="422169" cy="672462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0" name="任意多边形: 形状 159"/>
          <p:cNvSpPr/>
          <p:nvPr>
            <p:custDataLst>
              <p:tags r:id="rId12"/>
            </p:custDataLst>
          </p:nvPr>
        </p:nvSpPr>
        <p:spPr bwMode="auto">
          <a:xfrm>
            <a:off x="7238870" y="4300515"/>
            <a:ext cx="422169" cy="672462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9" name="任意多边形: 形状 148"/>
          <p:cNvSpPr/>
          <p:nvPr>
            <p:custDataLst>
              <p:tags r:id="rId13"/>
            </p:custDataLst>
          </p:nvPr>
        </p:nvSpPr>
        <p:spPr bwMode="auto">
          <a:xfrm>
            <a:off x="5304505" y="2886800"/>
            <a:ext cx="422169" cy="672462"/>
          </a:xfrm>
          <a:custGeom>
            <a:avLst/>
            <a:gdLst>
              <a:gd name="connsiteX0" fmla="*/ 208074 w 410656"/>
              <a:gd name="connsiteY0" fmla="*/ 28842 h 654123"/>
              <a:gd name="connsiteX1" fmla="*/ 266911 w 410656"/>
              <a:gd name="connsiteY1" fmla="*/ 87679 h 654123"/>
              <a:gd name="connsiteX2" fmla="*/ 208074 w 410656"/>
              <a:gd name="connsiteY2" fmla="*/ 146516 h 654123"/>
              <a:gd name="connsiteX3" fmla="*/ 149237 w 410656"/>
              <a:gd name="connsiteY3" fmla="*/ 87679 h 654123"/>
              <a:gd name="connsiteX4" fmla="*/ 208074 w 410656"/>
              <a:gd name="connsiteY4" fmla="*/ 28842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1 h 654123"/>
              <a:gd name="connsiteX9" fmla="*/ 271079 w 410656"/>
              <a:gd name="connsiteY9" fmla="*/ 160001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8842"/>
                </a:moveTo>
                <a:cubicBezTo>
                  <a:pt x="240569" y="28842"/>
                  <a:pt x="266911" y="55184"/>
                  <a:pt x="266911" y="87679"/>
                </a:cubicBezTo>
                <a:cubicBezTo>
                  <a:pt x="266911" y="120174"/>
                  <a:pt x="240569" y="146516"/>
                  <a:pt x="208074" y="146516"/>
                </a:cubicBezTo>
                <a:cubicBezTo>
                  <a:pt x="175579" y="146516"/>
                  <a:pt x="149237" y="120174"/>
                  <a:pt x="149237" y="87679"/>
                </a:cubicBezTo>
                <a:cubicBezTo>
                  <a:pt x="149237" y="55184"/>
                  <a:pt x="175579" y="28842"/>
                  <a:pt x="208074" y="28842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1"/>
                </a:cubicBezTo>
                <a:cubicBezTo>
                  <a:pt x="139300" y="160001"/>
                  <a:pt x="139300" y="160001"/>
                  <a:pt x="271079" y="160001"/>
                </a:cubicBezTo>
                <a:cubicBezTo>
                  <a:pt x="271079" y="160001"/>
                  <a:pt x="271079" y="160001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299"/>
                  <a:pt x="261667" y="654123"/>
                  <a:pt x="242841" y="654123"/>
                </a:cubicBezTo>
                <a:cubicBezTo>
                  <a:pt x="228722" y="654123"/>
                  <a:pt x="209896" y="635299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299"/>
                  <a:pt x="186364" y="654123"/>
                  <a:pt x="167539" y="654123"/>
                </a:cubicBezTo>
                <a:cubicBezTo>
                  <a:pt x="148712" y="654123"/>
                  <a:pt x="134593" y="635299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0" name="任意多边形: 形状 149"/>
          <p:cNvSpPr/>
          <p:nvPr>
            <p:custDataLst>
              <p:tags r:id="rId14"/>
            </p:custDataLst>
          </p:nvPr>
        </p:nvSpPr>
        <p:spPr bwMode="auto">
          <a:xfrm>
            <a:off x="5691141" y="2886800"/>
            <a:ext cx="422169" cy="672462"/>
          </a:xfrm>
          <a:custGeom>
            <a:avLst/>
            <a:gdLst>
              <a:gd name="connsiteX0" fmla="*/ 208074 w 410656"/>
              <a:gd name="connsiteY0" fmla="*/ 28842 h 654123"/>
              <a:gd name="connsiteX1" fmla="*/ 266911 w 410656"/>
              <a:gd name="connsiteY1" fmla="*/ 87679 h 654123"/>
              <a:gd name="connsiteX2" fmla="*/ 208074 w 410656"/>
              <a:gd name="connsiteY2" fmla="*/ 146516 h 654123"/>
              <a:gd name="connsiteX3" fmla="*/ 149237 w 410656"/>
              <a:gd name="connsiteY3" fmla="*/ 87679 h 654123"/>
              <a:gd name="connsiteX4" fmla="*/ 208074 w 410656"/>
              <a:gd name="connsiteY4" fmla="*/ 28842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1 h 654123"/>
              <a:gd name="connsiteX9" fmla="*/ 271079 w 410656"/>
              <a:gd name="connsiteY9" fmla="*/ 160001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8842"/>
                </a:moveTo>
                <a:cubicBezTo>
                  <a:pt x="240569" y="28842"/>
                  <a:pt x="266911" y="55184"/>
                  <a:pt x="266911" y="87679"/>
                </a:cubicBezTo>
                <a:cubicBezTo>
                  <a:pt x="266911" y="120174"/>
                  <a:pt x="240569" y="146516"/>
                  <a:pt x="208074" y="146516"/>
                </a:cubicBezTo>
                <a:cubicBezTo>
                  <a:pt x="175579" y="146516"/>
                  <a:pt x="149237" y="120174"/>
                  <a:pt x="149237" y="87679"/>
                </a:cubicBezTo>
                <a:cubicBezTo>
                  <a:pt x="149237" y="55184"/>
                  <a:pt x="175579" y="28842"/>
                  <a:pt x="208074" y="28842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1"/>
                </a:cubicBezTo>
                <a:cubicBezTo>
                  <a:pt x="139300" y="160001"/>
                  <a:pt x="139300" y="160001"/>
                  <a:pt x="271079" y="160001"/>
                </a:cubicBezTo>
                <a:cubicBezTo>
                  <a:pt x="271079" y="160001"/>
                  <a:pt x="271079" y="160001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299"/>
                  <a:pt x="261667" y="654123"/>
                  <a:pt x="242841" y="654123"/>
                </a:cubicBezTo>
                <a:cubicBezTo>
                  <a:pt x="228722" y="654123"/>
                  <a:pt x="209896" y="635299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299"/>
                  <a:pt x="186364" y="654123"/>
                  <a:pt x="167539" y="654123"/>
                </a:cubicBezTo>
                <a:cubicBezTo>
                  <a:pt x="148712" y="654123"/>
                  <a:pt x="134593" y="635299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1" name="任意多边形: 形状 150"/>
          <p:cNvSpPr/>
          <p:nvPr>
            <p:custDataLst>
              <p:tags r:id="rId15"/>
            </p:custDataLst>
          </p:nvPr>
        </p:nvSpPr>
        <p:spPr bwMode="auto">
          <a:xfrm>
            <a:off x="6078963" y="2886800"/>
            <a:ext cx="422169" cy="672462"/>
          </a:xfrm>
          <a:custGeom>
            <a:avLst/>
            <a:gdLst>
              <a:gd name="connsiteX0" fmla="*/ 206920 w 410656"/>
              <a:gd name="connsiteY0" fmla="*/ 28842 h 654123"/>
              <a:gd name="connsiteX1" fmla="*/ 265757 w 410656"/>
              <a:gd name="connsiteY1" fmla="*/ 87679 h 654123"/>
              <a:gd name="connsiteX2" fmla="*/ 206920 w 410656"/>
              <a:gd name="connsiteY2" fmla="*/ 146516 h 654123"/>
              <a:gd name="connsiteX3" fmla="*/ 148083 w 410656"/>
              <a:gd name="connsiteY3" fmla="*/ 87679 h 654123"/>
              <a:gd name="connsiteX4" fmla="*/ 206920 w 410656"/>
              <a:gd name="connsiteY4" fmla="*/ 28842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1 h 654123"/>
              <a:gd name="connsiteX9" fmla="*/ 271079 w 410656"/>
              <a:gd name="connsiteY9" fmla="*/ 160001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8842"/>
                </a:moveTo>
                <a:cubicBezTo>
                  <a:pt x="239415" y="28842"/>
                  <a:pt x="265757" y="55184"/>
                  <a:pt x="265757" y="87679"/>
                </a:cubicBezTo>
                <a:cubicBezTo>
                  <a:pt x="265757" y="120174"/>
                  <a:pt x="239415" y="146516"/>
                  <a:pt x="206920" y="146516"/>
                </a:cubicBezTo>
                <a:cubicBezTo>
                  <a:pt x="174425" y="146516"/>
                  <a:pt x="148083" y="120174"/>
                  <a:pt x="148083" y="87679"/>
                </a:cubicBezTo>
                <a:cubicBezTo>
                  <a:pt x="148083" y="55184"/>
                  <a:pt x="174425" y="28842"/>
                  <a:pt x="206920" y="28842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1"/>
                </a:cubicBezTo>
                <a:cubicBezTo>
                  <a:pt x="139300" y="160001"/>
                  <a:pt x="139300" y="160001"/>
                  <a:pt x="271079" y="160001"/>
                </a:cubicBezTo>
                <a:cubicBezTo>
                  <a:pt x="271079" y="160001"/>
                  <a:pt x="271079" y="160001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299"/>
                  <a:pt x="261667" y="654123"/>
                  <a:pt x="242841" y="654123"/>
                </a:cubicBezTo>
                <a:cubicBezTo>
                  <a:pt x="228722" y="654123"/>
                  <a:pt x="209896" y="635299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299"/>
                  <a:pt x="186364" y="654123"/>
                  <a:pt x="167539" y="654123"/>
                </a:cubicBezTo>
                <a:cubicBezTo>
                  <a:pt x="148713" y="654123"/>
                  <a:pt x="134593" y="635299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2" name="任意多边形: 形状 151"/>
          <p:cNvSpPr/>
          <p:nvPr>
            <p:custDataLst>
              <p:tags r:id="rId16"/>
            </p:custDataLst>
          </p:nvPr>
        </p:nvSpPr>
        <p:spPr bwMode="auto">
          <a:xfrm>
            <a:off x="6465599" y="2886800"/>
            <a:ext cx="422170" cy="672462"/>
          </a:xfrm>
          <a:custGeom>
            <a:avLst/>
            <a:gdLst>
              <a:gd name="connsiteX0" fmla="*/ 206921 w 410657"/>
              <a:gd name="connsiteY0" fmla="*/ 28842 h 654123"/>
              <a:gd name="connsiteX1" fmla="*/ 265758 w 410657"/>
              <a:gd name="connsiteY1" fmla="*/ 87679 h 654123"/>
              <a:gd name="connsiteX2" fmla="*/ 206921 w 410657"/>
              <a:gd name="connsiteY2" fmla="*/ 146516 h 654123"/>
              <a:gd name="connsiteX3" fmla="*/ 148084 w 410657"/>
              <a:gd name="connsiteY3" fmla="*/ 87679 h 654123"/>
              <a:gd name="connsiteX4" fmla="*/ 206921 w 410657"/>
              <a:gd name="connsiteY4" fmla="*/ 28842 h 654123"/>
              <a:gd name="connsiteX5" fmla="*/ 12228 w 410657"/>
              <a:gd name="connsiteY5" fmla="*/ 0 h 654123"/>
              <a:gd name="connsiteX6" fmla="*/ 21641 w 410657"/>
              <a:gd name="connsiteY6" fmla="*/ 0 h 654123"/>
              <a:gd name="connsiteX7" fmla="*/ 40467 w 410657"/>
              <a:gd name="connsiteY7" fmla="*/ 9412 h 654123"/>
              <a:gd name="connsiteX8" fmla="*/ 139301 w 410657"/>
              <a:gd name="connsiteY8" fmla="*/ 160001 h 654123"/>
              <a:gd name="connsiteX9" fmla="*/ 271080 w 410657"/>
              <a:gd name="connsiteY9" fmla="*/ 160001 h 654123"/>
              <a:gd name="connsiteX10" fmla="*/ 374621 w 410657"/>
              <a:gd name="connsiteY10" fmla="*/ 9412 h 654123"/>
              <a:gd name="connsiteX11" fmla="*/ 388740 w 410657"/>
              <a:gd name="connsiteY11" fmla="*/ 0 h 654123"/>
              <a:gd name="connsiteX12" fmla="*/ 402859 w 410657"/>
              <a:gd name="connsiteY12" fmla="*/ 0 h 654123"/>
              <a:gd name="connsiteX13" fmla="*/ 407566 w 410657"/>
              <a:gd name="connsiteY13" fmla="*/ 32942 h 654123"/>
              <a:gd name="connsiteX14" fmla="*/ 299319 w 410657"/>
              <a:gd name="connsiteY14" fmla="*/ 192943 h 654123"/>
              <a:gd name="connsiteX15" fmla="*/ 285199 w 410657"/>
              <a:gd name="connsiteY15" fmla="*/ 202355 h 654123"/>
              <a:gd name="connsiteX16" fmla="*/ 275787 w 410657"/>
              <a:gd name="connsiteY16" fmla="*/ 202355 h 654123"/>
              <a:gd name="connsiteX17" fmla="*/ 275787 w 410657"/>
              <a:gd name="connsiteY17" fmla="*/ 621182 h 654123"/>
              <a:gd name="connsiteX18" fmla="*/ 242842 w 410657"/>
              <a:gd name="connsiteY18" fmla="*/ 654123 h 654123"/>
              <a:gd name="connsiteX19" fmla="*/ 209897 w 410657"/>
              <a:gd name="connsiteY19" fmla="*/ 621182 h 654123"/>
              <a:gd name="connsiteX20" fmla="*/ 209897 w 410657"/>
              <a:gd name="connsiteY20" fmla="*/ 381180 h 654123"/>
              <a:gd name="connsiteX21" fmla="*/ 200484 w 410657"/>
              <a:gd name="connsiteY21" fmla="*/ 381180 h 654123"/>
              <a:gd name="connsiteX22" fmla="*/ 200484 w 410657"/>
              <a:gd name="connsiteY22" fmla="*/ 621182 h 654123"/>
              <a:gd name="connsiteX23" fmla="*/ 167540 w 410657"/>
              <a:gd name="connsiteY23" fmla="*/ 654123 h 654123"/>
              <a:gd name="connsiteX24" fmla="*/ 134595 w 410657"/>
              <a:gd name="connsiteY24" fmla="*/ 621182 h 654123"/>
              <a:gd name="connsiteX25" fmla="*/ 134595 w 410657"/>
              <a:gd name="connsiteY25" fmla="*/ 202355 h 654123"/>
              <a:gd name="connsiteX26" fmla="*/ 129888 w 410657"/>
              <a:gd name="connsiteY26" fmla="*/ 202355 h 654123"/>
              <a:gd name="connsiteX27" fmla="*/ 111063 w 410657"/>
              <a:gd name="connsiteY27" fmla="*/ 192943 h 654123"/>
              <a:gd name="connsiteX28" fmla="*/ 2816 w 410657"/>
              <a:gd name="connsiteY28" fmla="*/ 32942 h 654123"/>
              <a:gd name="connsiteX29" fmla="*/ 12228 w 410657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7" h="654123">
                <a:moveTo>
                  <a:pt x="206921" y="28842"/>
                </a:moveTo>
                <a:cubicBezTo>
                  <a:pt x="239416" y="28842"/>
                  <a:pt x="265758" y="55184"/>
                  <a:pt x="265758" y="87679"/>
                </a:cubicBezTo>
                <a:cubicBezTo>
                  <a:pt x="265758" y="120174"/>
                  <a:pt x="239416" y="146516"/>
                  <a:pt x="206921" y="146516"/>
                </a:cubicBezTo>
                <a:cubicBezTo>
                  <a:pt x="174426" y="146516"/>
                  <a:pt x="148084" y="120174"/>
                  <a:pt x="148084" y="87679"/>
                </a:cubicBezTo>
                <a:cubicBezTo>
                  <a:pt x="148084" y="55184"/>
                  <a:pt x="174426" y="28842"/>
                  <a:pt x="206921" y="28842"/>
                </a:cubicBezTo>
                <a:close/>
                <a:moveTo>
                  <a:pt x="12228" y="0"/>
                </a:moveTo>
                <a:cubicBezTo>
                  <a:pt x="12228" y="0"/>
                  <a:pt x="16935" y="0"/>
                  <a:pt x="21641" y="0"/>
                </a:cubicBezTo>
                <a:cubicBezTo>
                  <a:pt x="26348" y="0"/>
                  <a:pt x="35760" y="0"/>
                  <a:pt x="40467" y="9412"/>
                </a:cubicBezTo>
                <a:cubicBezTo>
                  <a:pt x="40467" y="9412"/>
                  <a:pt x="40467" y="9412"/>
                  <a:pt x="139301" y="160001"/>
                </a:cubicBezTo>
                <a:cubicBezTo>
                  <a:pt x="139301" y="160001"/>
                  <a:pt x="139301" y="160001"/>
                  <a:pt x="271080" y="160001"/>
                </a:cubicBezTo>
                <a:cubicBezTo>
                  <a:pt x="271080" y="160001"/>
                  <a:pt x="271080" y="160001"/>
                  <a:pt x="374621" y="9412"/>
                </a:cubicBezTo>
                <a:cubicBezTo>
                  <a:pt x="374621" y="0"/>
                  <a:pt x="384034" y="0"/>
                  <a:pt x="388740" y="0"/>
                </a:cubicBezTo>
                <a:cubicBezTo>
                  <a:pt x="393447" y="0"/>
                  <a:pt x="398153" y="0"/>
                  <a:pt x="402859" y="0"/>
                </a:cubicBezTo>
                <a:cubicBezTo>
                  <a:pt x="412272" y="9412"/>
                  <a:pt x="412272" y="23530"/>
                  <a:pt x="407566" y="32942"/>
                </a:cubicBezTo>
                <a:cubicBezTo>
                  <a:pt x="407566" y="32942"/>
                  <a:pt x="407566" y="32942"/>
                  <a:pt x="299319" y="192943"/>
                </a:cubicBezTo>
                <a:cubicBezTo>
                  <a:pt x="294612" y="197649"/>
                  <a:pt x="289906" y="202355"/>
                  <a:pt x="285199" y="202355"/>
                </a:cubicBezTo>
                <a:cubicBezTo>
                  <a:pt x="285199" y="202355"/>
                  <a:pt x="285199" y="202355"/>
                  <a:pt x="275787" y="202355"/>
                </a:cubicBezTo>
                <a:cubicBezTo>
                  <a:pt x="275787" y="202355"/>
                  <a:pt x="275787" y="202355"/>
                  <a:pt x="275787" y="621182"/>
                </a:cubicBezTo>
                <a:cubicBezTo>
                  <a:pt x="275787" y="635299"/>
                  <a:pt x="261668" y="654123"/>
                  <a:pt x="242842" y="654123"/>
                </a:cubicBezTo>
                <a:cubicBezTo>
                  <a:pt x="228723" y="654123"/>
                  <a:pt x="209897" y="635299"/>
                  <a:pt x="209897" y="621182"/>
                </a:cubicBezTo>
                <a:cubicBezTo>
                  <a:pt x="209897" y="621182"/>
                  <a:pt x="209897" y="621182"/>
                  <a:pt x="209897" y="381180"/>
                </a:cubicBezTo>
                <a:cubicBezTo>
                  <a:pt x="209897" y="381180"/>
                  <a:pt x="209897" y="381180"/>
                  <a:pt x="200484" y="381180"/>
                </a:cubicBezTo>
                <a:cubicBezTo>
                  <a:pt x="200484" y="381180"/>
                  <a:pt x="200484" y="381180"/>
                  <a:pt x="200484" y="621182"/>
                </a:cubicBezTo>
                <a:cubicBezTo>
                  <a:pt x="200484" y="635299"/>
                  <a:pt x="186365" y="654123"/>
                  <a:pt x="167540" y="654123"/>
                </a:cubicBezTo>
                <a:cubicBezTo>
                  <a:pt x="148714" y="654123"/>
                  <a:pt x="134595" y="635299"/>
                  <a:pt x="134595" y="621182"/>
                </a:cubicBezTo>
                <a:cubicBezTo>
                  <a:pt x="134595" y="621182"/>
                  <a:pt x="134595" y="621182"/>
                  <a:pt x="134595" y="202355"/>
                </a:cubicBezTo>
                <a:cubicBezTo>
                  <a:pt x="134595" y="202355"/>
                  <a:pt x="134595" y="202355"/>
                  <a:pt x="129888" y="202355"/>
                </a:cubicBezTo>
                <a:cubicBezTo>
                  <a:pt x="120476" y="202355"/>
                  <a:pt x="115769" y="197649"/>
                  <a:pt x="111063" y="192943"/>
                </a:cubicBezTo>
                <a:cubicBezTo>
                  <a:pt x="111063" y="192943"/>
                  <a:pt x="111063" y="192943"/>
                  <a:pt x="2816" y="32942"/>
                </a:cubicBezTo>
                <a:cubicBezTo>
                  <a:pt x="-1891" y="23530"/>
                  <a:pt x="-1891" y="9412"/>
                  <a:pt x="1222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35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7" name="椭圆 146"/>
          <p:cNvSpPr/>
          <p:nvPr>
            <p:custDataLst>
              <p:tags r:id="rId17"/>
            </p:custDataLst>
          </p:nvPr>
        </p:nvSpPr>
        <p:spPr>
          <a:xfrm>
            <a:off x="6399146" y="2084259"/>
            <a:ext cx="382654" cy="382654"/>
          </a:xfrm>
          <a:prstGeom prst="ellipse">
            <a:avLst/>
          </a:prstGeom>
          <a:solidFill>
            <a:schemeClr val="accent2"/>
          </a:solidFill>
          <a:ln w="38100" cap="rnd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8" name="任意多边形: 形状 147"/>
          <p:cNvSpPr/>
          <p:nvPr>
            <p:custDataLst>
              <p:tags r:id="rId18"/>
            </p:custDataLst>
          </p:nvPr>
        </p:nvSpPr>
        <p:spPr>
          <a:xfrm>
            <a:off x="6504098" y="2206807"/>
            <a:ext cx="172748" cy="13755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3175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5" name="椭圆 144"/>
          <p:cNvSpPr/>
          <p:nvPr>
            <p:custDataLst>
              <p:tags r:id="rId19"/>
            </p:custDataLst>
          </p:nvPr>
        </p:nvSpPr>
        <p:spPr>
          <a:xfrm>
            <a:off x="7258636" y="3685405"/>
            <a:ext cx="382654" cy="382654"/>
          </a:xfrm>
          <a:prstGeom prst="ellipse">
            <a:avLst/>
          </a:prstGeom>
          <a:solidFill>
            <a:schemeClr val="lt1">
              <a:lumMod val="75000"/>
            </a:schemeClr>
          </a:solidFill>
          <a:ln w="38100" cap="rnd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6" name="任意多边形: 形状 145"/>
          <p:cNvSpPr/>
          <p:nvPr>
            <p:custDataLst>
              <p:tags r:id="rId20"/>
            </p:custDataLst>
          </p:nvPr>
        </p:nvSpPr>
        <p:spPr>
          <a:xfrm>
            <a:off x="7363588" y="3804825"/>
            <a:ext cx="172748" cy="143815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tx2"/>
          </a:solidFill>
          <a:ln w="3175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3" name="椭圆 142"/>
          <p:cNvSpPr/>
          <p:nvPr>
            <p:custDataLst>
              <p:tags r:id="rId21"/>
            </p:custDataLst>
          </p:nvPr>
        </p:nvSpPr>
        <p:spPr>
          <a:xfrm>
            <a:off x="7925386" y="5026344"/>
            <a:ext cx="382654" cy="382654"/>
          </a:xfrm>
          <a:prstGeom prst="ellipse">
            <a:avLst/>
          </a:prstGeom>
          <a:solidFill>
            <a:schemeClr val="lt1">
              <a:lumMod val="75000"/>
            </a:schemeClr>
          </a:solidFill>
          <a:ln w="38100" cap="rnd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4" name="任意多边形: 形状 143"/>
          <p:cNvSpPr/>
          <p:nvPr>
            <p:custDataLst>
              <p:tags r:id="rId22"/>
            </p:custDataLst>
          </p:nvPr>
        </p:nvSpPr>
        <p:spPr>
          <a:xfrm>
            <a:off x="8030338" y="5139009"/>
            <a:ext cx="172748" cy="157323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 w="3175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31" name="文本框 130"/>
          <p:cNvSpPr txBox="1"/>
          <p:nvPr>
            <p:custDataLst>
              <p:tags r:id="rId23"/>
            </p:custDataLst>
          </p:nvPr>
        </p:nvSpPr>
        <p:spPr>
          <a:xfrm>
            <a:off x="6887775" y="1788122"/>
            <a:ext cx="2455114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32" name="矩形 131"/>
          <p:cNvSpPr/>
          <p:nvPr>
            <p:custDataLst>
              <p:tags r:id="rId24"/>
            </p:custDataLst>
          </p:nvPr>
        </p:nvSpPr>
        <p:spPr bwMode="auto">
          <a:xfrm>
            <a:off x="6887775" y="2162517"/>
            <a:ext cx="2455114" cy="608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retain text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33" name="文本框 132"/>
          <p:cNvSpPr txBox="1"/>
          <p:nvPr>
            <p:custDataLst>
              <p:tags r:id="rId25"/>
            </p:custDataLst>
          </p:nvPr>
        </p:nvSpPr>
        <p:spPr>
          <a:xfrm>
            <a:off x="7732118" y="3389268"/>
            <a:ext cx="2455114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34" name="矩形 133"/>
          <p:cNvSpPr/>
          <p:nvPr>
            <p:custDataLst>
              <p:tags r:id="rId26"/>
            </p:custDataLst>
          </p:nvPr>
        </p:nvSpPr>
        <p:spPr bwMode="auto">
          <a:xfrm>
            <a:off x="7732118" y="3763663"/>
            <a:ext cx="2455114" cy="608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retain text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35" name="文本框 134"/>
          <p:cNvSpPr txBox="1"/>
          <p:nvPr>
            <p:custDataLst>
              <p:tags r:id="rId27"/>
            </p:custDataLst>
          </p:nvPr>
        </p:nvSpPr>
        <p:spPr>
          <a:xfrm>
            <a:off x="8361867" y="4730207"/>
            <a:ext cx="2455114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36" name="矩形 135"/>
          <p:cNvSpPr/>
          <p:nvPr>
            <p:custDataLst>
              <p:tags r:id="rId28"/>
            </p:custDataLst>
          </p:nvPr>
        </p:nvSpPr>
        <p:spPr bwMode="auto">
          <a:xfrm>
            <a:off x="8361867" y="5104602"/>
            <a:ext cx="2455114" cy="608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retain text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cxnSp>
        <p:nvCxnSpPr>
          <p:cNvPr id="137" name="直接连接符 136"/>
          <p:cNvCxnSpPr/>
          <p:nvPr>
            <p:custDataLst>
              <p:tags r:id="rId29"/>
            </p:custDataLst>
          </p:nvPr>
        </p:nvCxnSpPr>
        <p:spPr>
          <a:xfrm flipH="1">
            <a:off x="660400" y="2863077"/>
            <a:ext cx="4464050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接连接符 137"/>
          <p:cNvCxnSpPr/>
          <p:nvPr>
            <p:custDataLst>
              <p:tags r:id="rId30"/>
            </p:custDataLst>
          </p:nvPr>
        </p:nvCxnSpPr>
        <p:spPr>
          <a:xfrm flipH="1">
            <a:off x="660400" y="4276399"/>
            <a:ext cx="3816350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接连接符 138"/>
          <p:cNvCxnSpPr/>
          <p:nvPr>
            <p:custDataLst>
              <p:tags r:id="rId31"/>
            </p:custDataLst>
          </p:nvPr>
        </p:nvCxnSpPr>
        <p:spPr>
          <a:xfrm flipH="1">
            <a:off x="660400" y="5514973"/>
            <a:ext cx="3130550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文本框 139"/>
          <p:cNvSpPr txBox="1"/>
          <p:nvPr>
            <p:custDataLst>
              <p:tags r:id="rId32"/>
            </p:custDataLst>
          </p:nvPr>
        </p:nvSpPr>
        <p:spPr>
          <a:xfrm>
            <a:off x="665210" y="3389268"/>
            <a:ext cx="2455114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…text</a:t>
            </a:r>
            <a:endParaRPr lang="en-US" altLang="zh-CN" sz="16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1" name="文本框 140"/>
          <p:cNvSpPr txBox="1"/>
          <p:nvPr>
            <p:custDataLst>
              <p:tags r:id="rId33"/>
            </p:custDataLst>
          </p:nvPr>
        </p:nvSpPr>
        <p:spPr>
          <a:xfrm>
            <a:off x="665210" y="2119054"/>
            <a:ext cx="2455114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…text</a:t>
            </a:r>
            <a:endParaRPr lang="en-US" altLang="zh-CN" sz="16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2" name="文本框 141"/>
          <p:cNvSpPr txBox="1"/>
          <p:nvPr>
            <p:custDataLst>
              <p:tags r:id="rId34"/>
            </p:custDataLst>
          </p:nvPr>
        </p:nvSpPr>
        <p:spPr>
          <a:xfrm>
            <a:off x="665210" y="4800007"/>
            <a:ext cx="2455114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…text</a:t>
            </a:r>
            <a:endParaRPr lang="en-US" altLang="zh-CN" sz="16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38" name="任意多边形: 形状 37"/>
          <p:cNvSpPr/>
          <p:nvPr>
            <p:custDataLst>
              <p:tags r:id="rId2"/>
            </p:custDataLst>
          </p:nvPr>
        </p:nvSpPr>
        <p:spPr bwMode="auto">
          <a:xfrm rot="1800000" flipV="1">
            <a:off x="5797619" y="2225365"/>
            <a:ext cx="1615151" cy="634794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9" name="任意多边形: 形状 38"/>
          <p:cNvSpPr/>
          <p:nvPr>
            <p:custDataLst>
              <p:tags r:id="rId3"/>
            </p:custDataLst>
          </p:nvPr>
        </p:nvSpPr>
        <p:spPr bwMode="auto">
          <a:xfrm rot="5463362" flipV="1">
            <a:off x="6388386" y="3269811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0" name="任意多边形: 形状 39"/>
          <p:cNvSpPr/>
          <p:nvPr>
            <p:custDataLst>
              <p:tags r:id="rId4"/>
            </p:custDataLst>
          </p:nvPr>
        </p:nvSpPr>
        <p:spPr bwMode="auto">
          <a:xfrm rot="19736638" flipH="1" flipV="1">
            <a:off x="4597718" y="2235970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1" name="任意多边形: 形状 40"/>
          <p:cNvSpPr/>
          <p:nvPr>
            <p:custDataLst>
              <p:tags r:id="rId5"/>
            </p:custDataLst>
          </p:nvPr>
        </p:nvSpPr>
        <p:spPr bwMode="auto">
          <a:xfrm rot="1800000">
            <a:off x="4581833" y="4331167"/>
            <a:ext cx="1615151" cy="634794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2" name="任意多边形: 形状 41"/>
          <p:cNvSpPr/>
          <p:nvPr>
            <p:custDataLst>
              <p:tags r:id="rId6"/>
            </p:custDataLst>
          </p:nvPr>
        </p:nvSpPr>
        <p:spPr bwMode="auto">
          <a:xfrm rot="19736638">
            <a:off x="5781733" y="4320564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3" name="任意多边形: 形状 42"/>
          <p:cNvSpPr/>
          <p:nvPr>
            <p:custDataLst>
              <p:tags r:id="rId7"/>
            </p:custDataLst>
          </p:nvPr>
        </p:nvSpPr>
        <p:spPr bwMode="auto">
          <a:xfrm rot="5463362" flipH="1">
            <a:off x="3991066" y="3286722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7" name="椭圆 6"/>
          <p:cNvSpPr/>
          <p:nvPr>
            <p:custDataLst>
              <p:tags r:id="rId8"/>
            </p:custDataLst>
          </p:nvPr>
        </p:nvSpPr>
        <p:spPr>
          <a:xfrm>
            <a:off x="4674371" y="1653447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8" name="椭圆 7"/>
          <p:cNvSpPr/>
          <p:nvPr>
            <p:custDataLst>
              <p:tags r:id="rId9"/>
            </p:custDataLst>
          </p:nvPr>
        </p:nvSpPr>
        <p:spPr>
          <a:xfrm>
            <a:off x="7189708" y="3105678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9" name="椭圆 8"/>
          <p:cNvSpPr/>
          <p:nvPr>
            <p:custDataLst>
              <p:tags r:id="rId10"/>
            </p:custDataLst>
          </p:nvPr>
        </p:nvSpPr>
        <p:spPr>
          <a:xfrm>
            <a:off x="6355592" y="4550410"/>
            <a:ext cx="972995" cy="97299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0" name="椭圆 9"/>
          <p:cNvSpPr/>
          <p:nvPr>
            <p:custDataLst>
              <p:tags r:id="rId11"/>
            </p:custDataLst>
          </p:nvPr>
        </p:nvSpPr>
        <p:spPr>
          <a:xfrm>
            <a:off x="3829768" y="3116340"/>
            <a:ext cx="972995" cy="97299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" name="椭圆 10"/>
          <p:cNvSpPr/>
          <p:nvPr>
            <p:custDataLst>
              <p:tags r:id="rId12"/>
            </p:custDataLst>
          </p:nvPr>
        </p:nvSpPr>
        <p:spPr>
          <a:xfrm>
            <a:off x="6354498" y="1647846"/>
            <a:ext cx="972995" cy="97299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2" name="椭圆 11"/>
          <p:cNvSpPr/>
          <p:nvPr>
            <p:custDataLst>
              <p:tags r:id="rId13"/>
            </p:custDataLst>
          </p:nvPr>
        </p:nvSpPr>
        <p:spPr>
          <a:xfrm>
            <a:off x="4661206" y="4580718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50" name="任意多边形: 形状 49"/>
          <p:cNvSpPr/>
          <p:nvPr>
            <p:custDataLst>
              <p:tags r:id="rId14"/>
            </p:custDataLst>
          </p:nvPr>
        </p:nvSpPr>
        <p:spPr bwMode="auto">
          <a:xfrm>
            <a:off x="5007443" y="1989259"/>
            <a:ext cx="306850" cy="301370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5" name="任意多边形: 形状 44"/>
          <p:cNvSpPr/>
          <p:nvPr>
            <p:custDataLst>
              <p:tags r:id="rId15"/>
            </p:custDataLst>
          </p:nvPr>
        </p:nvSpPr>
        <p:spPr bwMode="auto">
          <a:xfrm>
            <a:off x="6687570" y="1994618"/>
            <a:ext cx="306850" cy="279452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8" name="任意多边形: 形状 47"/>
          <p:cNvSpPr/>
          <p:nvPr>
            <p:custDataLst>
              <p:tags r:id="rId16"/>
            </p:custDataLst>
          </p:nvPr>
        </p:nvSpPr>
        <p:spPr bwMode="auto">
          <a:xfrm>
            <a:off x="4173593" y="3449412"/>
            <a:ext cx="285346" cy="306850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4" name="任意多边形: 形状 43"/>
          <p:cNvSpPr/>
          <p:nvPr>
            <p:custDataLst>
              <p:tags r:id="rId17"/>
            </p:custDataLst>
          </p:nvPr>
        </p:nvSpPr>
        <p:spPr bwMode="auto">
          <a:xfrm>
            <a:off x="7562558" y="3449412"/>
            <a:ext cx="227296" cy="306850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7" name="任意多边形: 形状 46"/>
          <p:cNvSpPr/>
          <p:nvPr>
            <p:custDataLst>
              <p:tags r:id="rId18"/>
            </p:custDataLst>
          </p:nvPr>
        </p:nvSpPr>
        <p:spPr bwMode="auto">
          <a:xfrm>
            <a:off x="5007444" y="4914736"/>
            <a:ext cx="306850" cy="244343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6" name="任意多边形: 形状 45"/>
          <p:cNvSpPr/>
          <p:nvPr>
            <p:custDataLst>
              <p:tags r:id="rId19"/>
            </p:custDataLst>
          </p:nvPr>
        </p:nvSpPr>
        <p:spPr bwMode="auto">
          <a:xfrm>
            <a:off x="6701028" y="4883481"/>
            <a:ext cx="279933" cy="306850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" name="矩形 18"/>
          <p:cNvSpPr/>
          <p:nvPr>
            <p:custDataLst>
              <p:tags r:id="rId20"/>
            </p:custDataLst>
          </p:nvPr>
        </p:nvSpPr>
        <p:spPr>
          <a:xfrm>
            <a:off x="5115364" y="3244164"/>
            <a:ext cx="1761744" cy="71323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lvl="0" algn="ctr" defTabSz="914400">
              <a:spcBef>
                <a:spcPct val="0"/>
              </a:spcBef>
              <a:defRPr/>
            </a:pPr>
            <a:r>
              <a:rPr lang="en-US" altLang="zh-CN" b="1" u="sng">
                <a:solidFill>
                  <a:schemeClr val="dk1"/>
                </a:solidFill>
                <a:cs typeface="+mn-ea"/>
                <a:sym typeface="+mn-lt"/>
              </a:rPr>
              <a:t>…text</a:t>
            </a:r>
            <a:endParaRPr lang="en-US" altLang="zh-CN" b="1" u="sng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6" name="文本框 35"/>
          <p:cNvSpPr txBox="1"/>
          <p:nvPr>
            <p:custDataLst>
              <p:tags r:id="rId21"/>
            </p:custDataLst>
          </p:nvPr>
        </p:nvSpPr>
        <p:spPr>
          <a:xfrm>
            <a:off x="7421140" y="1932336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text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" name="矩形 36"/>
          <p:cNvSpPr/>
          <p:nvPr>
            <p:custDataLst>
              <p:tags r:id="rId22"/>
            </p:custDataLst>
          </p:nvPr>
        </p:nvSpPr>
        <p:spPr>
          <a:xfrm>
            <a:off x="7421140" y="1611342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4" name="文本框 33"/>
          <p:cNvSpPr txBox="1"/>
          <p:nvPr>
            <p:custDataLst>
              <p:tags r:id="rId23"/>
            </p:custDataLst>
          </p:nvPr>
        </p:nvSpPr>
        <p:spPr>
          <a:xfrm>
            <a:off x="1946859" y="1932336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" name="矩形 34"/>
          <p:cNvSpPr/>
          <p:nvPr>
            <p:custDataLst>
              <p:tags r:id="rId24"/>
            </p:custDataLst>
          </p:nvPr>
        </p:nvSpPr>
        <p:spPr>
          <a:xfrm>
            <a:off x="1946859" y="1611342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2" name="文本框 31"/>
          <p:cNvSpPr txBox="1"/>
          <p:nvPr>
            <p:custDataLst>
              <p:tags r:id="rId25"/>
            </p:custDataLst>
          </p:nvPr>
        </p:nvSpPr>
        <p:spPr>
          <a:xfrm>
            <a:off x="7421140" y="4932813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text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3" name="矩形 32"/>
          <p:cNvSpPr/>
          <p:nvPr>
            <p:custDataLst>
              <p:tags r:id="rId26"/>
            </p:custDataLst>
          </p:nvPr>
        </p:nvSpPr>
        <p:spPr>
          <a:xfrm>
            <a:off x="7421140" y="4611819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0" name="文本框 29"/>
          <p:cNvSpPr txBox="1"/>
          <p:nvPr>
            <p:custDataLst>
              <p:tags r:id="rId27"/>
            </p:custDataLst>
          </p:nvPr>
        </p:nvSpPr>
        <p:spPr>
          <a:xfrm>
            <a:off x="1946859" y="4932813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1" name="矩形 30"/>
          <p:cNvSpPr/>
          <p:nvPr>
            <p:custDataLst>
              <p:tags r:id="rId28"/>
            </p:custDataLst>
          </p:nvPr>
        </p:nvSpPr>
        <p:spPr>
          <a:xfrm>
            <a:off x="1946859" y="4611819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28" name="文本框 27"/>
          <p:cNvSpPr txBox="1"/>
          <p:nvPr>
            <p:custDataLst>
              <p:tags r:id="rId29"/>
            </p:custDataLst>
          </p:nvPr>
        </p:nvSpPr>
        <p:spPr>
          <a:xfrm>
            <a:off x="1138668" y="3385200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9" name="矩形 28"/>
          <p:cNvSpPr/>
          <p:nvPr>
            <p:custDataLst>
              <p:tags r:id="rId30"/>
            </p:custDataLst>
          </p:nvPr>
        </p:nvSpPr>
        <p:spPr>
          <a:xfrm>
            <a:off x="1138668" y="3064206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26" name="文本框 25"/>
          <p:cNvSpPr txBox="1"/>
          <p:nvPr>
            <p:custDataLst>
              <p:tags r:id="rId31"/>
            </p:custDataLst>
          </p:nvPr>
        </p:nvSpPr>
        <p:spPr>
          <a:xfrm>
            <a:off x="8475303" y="3385200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text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……</a:t>
            </a: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7" name="矩形 26"/>
          <p:cNvSpPr/>
          <p:nvPr>
            <p:custDataLst>
              <p:tags r:id="rId32"/>
            </p:custDataLst>
          </p:nvPr>
        </p:nvSpPr>
        <p:spPr>
          <a:xfrm>
            <a:off x="8475303" y="3064206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168" name="矩形: 圆角 167"/>
          <p:cNvSpPr/>
          <p:nvPr>
            <p:custDataLst>
              <p:tags r:id="rId2"/>
            </p:custDataLst>
          </p:nvPr>
        </p:nvSpPr>
        <p:spPr>
          <a:xfrm>
            <a:off x="673100" y="4509312"/>
            <a:ext cx="10845800" cy="52495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cxnSp>
        <p:nvCxnSpPr>
          <p:cNvPr id="169" name="直接连接符 168"/>
          <p:cNvCxnSpPr/>
          <p:nvPr>
            <p:custDataLst>
              <p:tags r:id="rId3"/>
            </p:custDataLst>
          </p:nvPr>
        </p:nvCxnSpPr>
        <p:spPr>
          <a:xfrm>
            <a:off x="1479956" y="3171402"/>
            <a:ext cx="0" cy="130866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文本框 169"/>
          <p:cNvSpPr txBox="1"/>
          <p:nvPr>
            <p:custDataLst>
              <p:tags r:id="rId4"/>
            </p:custDataLst>
          </p:nvPr>
        </p:nvSpPr>
        <p:spPr>
          <a:xfrm>
            <a:off x="673100" y="5034265"/>
            <a:ext cx="1613711" cy="9668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Supporting text </a:t>
            </a:r>
            <a:r>
              <a:rPr lang="en-US" altLang="zh-CN" sz="1000">
                <a:solidFill>
                  <a:schemeClr val="dk1"/>
                </a:solidFill>
                <a:cs typeface="+mn-ea"/>
                <a:sym typeface="+mn-lt"/>
              </a:rPr>
              <a:t>here.</a:t>
            </a:r>
            <a:endParaRPr lang="en-US" altLang="zh-CN" sz="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71" name="矩形: 圆角 170"/>
          <p:cNvSpPr/>
          <p:nvPr>
            <p:custDataLst>
              <p:tags r:id="rId5"/>
            </p:custDataLst>
          </p:nvPr>
        </p:nvSpPr>
        <p:spPr>
          <a:xfrm>
            <a:off x="881935" y="2768888"/>
            <a:ext cx="1196041" cy="34782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2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72" name="矩形 171"/>
          <p:cNvSpPr/>
          <p:nvPr>
            <p:custDataLst>
              <p:tags r:id="rId6"/>
            </p:custDataLst>
          </p:nvPr>
        </p:nvSpPr>
        <p:spPr>
          <a:xfrm>
            <a:off x="881935" y="4576181"/>
            <a:ext cx="1196041" cy="39121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20XX</a:t>
            </a:r>
          </a:p>
        </p:txBody>
      </p:sp>
      <p:sp>
        <p:nvSpPr>
          <p:cNvPr id="173" name="文本框 172"/>
          <p:cNvSpPr txBox="1"/>
          <p:nvPr>
            <p:custDataLst>
              <p:tags r:id="rId7"/>
            </p:custDataLst>
          </p:nvPr>
        </p:nvSpPr>
        <p:spPr>
          <a:xfrm>
            <a:off x="2738561" y="5034265"/>
            <a:ext cx="1613711" cy="9668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solidFill>
                  <a:schemeClr val="dk1"/>
                </a:solidFill>
                <a:cs typeface="+mn-ea"/>
                <a:sym typeface="+mn-lt"/>
              </a:rPr>
              <a:t>Supporting text</a:t>
            </a: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74" name="矩形 173"/>
          <p:cNvSpPr/>
          <p:nvPr>
            <p:custDataLst>
              <p:tags r:id="rId8"/>
            </p:custDataLst>
          </p:nvPr>
        </p:nvSpPr>
        <p:spPr>
          <a:xfrm>
            <a:off x="2947396" y="4576181"/>
            <a:ext cx="1196041" cy="39121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20XX</a:t>
            </a:r>
          </a:p>
        </p:txBody>
      </p:sp>
      <p:cxnSp>
        <p:nvCxnSpPr>
          <p:cNvPr id="175" name="直接连接符 174"/>
          <p:cNvCxnSpPr/>
          <p:nvPr>
            <p:custDataLst>
              <p:tags r:id="rId9"/>
            </p:custDataLst>
          </p:nvPr>
        </p:nvCxnSpPr>
        <p:spPr>
          <a:xfrm>
            <a:off x="5610878" y="3171402"/>
            <a:ext cx="0" cy="130866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文本框 175"/>
          <p:cNvSpPr txBox="1"/>
          <p:nvPr>
            <p:custDataLst>
              <p:tags r:id="rId10"/>
            </p:custDataLst>
          </p:nvPr>
        </p:nvSpPr>
        <p:spPr>
          <a:xfrm>
            <a:off x="4804022" y="5034265"/>
            <a:ext cx="1613711" cy="9668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solidFill>
                  <a:schemeClr val="dk1"/>
                </a:solidFill>
                <a:cs typeface="+mn-ea"/>
                <a:sym typeface="+mn-lt"/>
              </a:rPr>
              <a:t>Supporting text</a:t>
            </a: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77" name="矩形: 圆角 176"/>
          <p:cNvSpPr/>
          <p:nvPr>
            <p:custDataLst>
              <p:tags r:id="rId11"/>
            </p:custDataLst>
          </p:nvPr>
        </p:nvSpPr>
        <p:spPr>
          <a:xfrm>
            <a:off x="5012857" y="2768888"/>
            <a:ext cx="1196041" cy="34782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2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78" name="矩形 177"/>
          <p:cNvSpPr/>
          <p:nvPr>
            <p:custDataLst>
              <p:tags r:id="rId12"/>
            </p:custDataLst>
          </p:nvPr>
        </p:nvSpPr>
        <p:spPr>
          <a:xfrm>
            <a:off x="5012857" y="4576181"/>
            <a:ext cx="1196041" cy="39121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20XX</a:t>
            </a:r>
          </a:p>
        </p:txBody>
      </p:sp>
      <p:cxnSp>
        <p:nvCxnSpPr>
          <p:cNvPr id="179" name="直接连接符 178"/>
          <p:cNvCxnSpPr/>
          <p:nvPr>
            <p:custDataLst>
              <p:tags r:id="rId13"/>
            </p:custDataLst>
          </p:nvPr>
        </p:nvCxnSpPr>
        <p:spPr>
          <a:xfrm>
            <a:off x="3545417" y="2223126"/>
            <a:ext cx="0" cy="2256936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直接连接符 179"/>
          <p:cNvCxnSpPr/>
          <p:nvPr>
            <p:custDataLst>
              <p:tags r:id="rId14"/>
            </p:custDataLst>
          </p:nvPr>
        </p:nvCxnSpPr>
        <p:spPr>
          <a:xfrm>
            <a:off x="7676339" y="2223126"/>
            <a:ext cx="0" cy="2256936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文本框 180"/>
          <p:cNvSpPr txBox="1"/>
          <p:nvPr>
            <p:custDataLst>
              <p:tags r:id="rId15"/>
            </p:custDataLst>
          </p:nvPr>
        </p:nvSpPr>
        <p:spPr>
          <a:xfrm>
            <a:off x="6869483" y="5034265"/>
            <a:ext cx="1613711" cy="9668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solidFill>
                  <a:schemeClr val="dk1"/>
                </a:solidFill>
                <a:cs typeface="+mn-ea"/>
                <a:sym typeface="+mn-lt"/>
              </a:rPr>
              <a:t>Supporting </a:t>
            </a: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82" name="矩形: 圆角 181"/>
          <p:cNvSpPr/>
          <p:nvPr>
            <p:custDataLst>
              <p:tags r:id="rId16"/>
            </p:custDataLst>
          </p:nvPr>
        </p:nvSpPr>
        <p:spPr>
          <a:xfrm>
            <a:off x="2947396" y="1820612"/>
            <a:ext cx="1196041" cy="347828"/>
          </a:xfrm>
          <a:prstGeom prst="roundRect">
            <a:avLst>
              <a:gd name="adj" fmla="val 50000"/>
            </a:avLst>
          </a:prstGeom>
          <a:solidFill>
            <a:schemeClr val="lt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2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83" name="矩形: 圆角 182"/>
          <p:cNvSpPr/>
          <p:nvPr>
            <p:custDataLst>
              <p:tags r:id="rId17"/>
            </p:custDataLst>
          </p:nvPr>
        </p:nvSpPr>
        <p:spPr>
          <a:xfrm>
            <a:off x="7078318" y="1820612"/>
            <a:ext cx="1196041" cy="347828"/>
          </a:xfrm>
          <a:prstGeom prst="roundRect">
            <a:avLst>
              <a:gd name="adj" fmla="val 50000"/>
            </a:avLst>
          </a:prstGeom>
          <a:solidFill>
            <a:schemeClr val="lt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2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84" name="矩形 183"/>
          <p:cNvSpPr/>
          <p:nvPr>
            <p:custDataLst>
              <p:tags r:id="rId18"/>
            </p:custDataLst>
          </p:nvPr>
        </p:nvSpPr>
        <p:spPr>
          <a:xfrm>
            <a:off x="7078318" y="4576181"/>
            <a:ext cx="1196041" cy="39121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20XX</a:t>
            </a:r>
          </a:p>
        </p:txBody>
      </p:sp>
      <p:cxnSp>
        <p:nvCxnSpPr>
          <p:cNvPr id="185" name="直接连接符 184"/>
          <p:cNvCxnSpPr/>
          <p:nvPr>
            <p:custDataLst>
              <p:tags r:id="rId19"/>
            </p:custDataLst>
          </p:nvPr>
        </p:nvCxnSpPr>
        <p:spPr>
          <a:xfrm>
            <a:off x="9741802" y="3171402"/>
            <a:ext cx="0" cy="130866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文本框 185"/>
          <p:cNvSpPr txBox="1"/>
          <p:nvPr>
            <p:custDataLst>
              <p:tags r:id="rId20"/>
            </p:custDataLst>
          </p:nvPr>
        </p:nvSpPr>
        <p:spPr>
          <a:xfrm>
            <a:off x="8934946" y="5034265"/>
            <a:ext cx="1613711" cy="9668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solidFill>
                  <a:schemeClr val="dk1"/>
                </a:solidFill>
                <a:cs typeface="+mn-ea"/>
                <a:sym typeface="+mn-lt"/>
              </a:rPr>
              <a:t>Supporting </a:t>
            </a: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87" name="矩形: 圆角 186"/>
          <p:cNvSpPr/>
          <p:nvPr>
            <p:custDataLst>
              <p:tags r:id="rId21"/>
            </p:custDataLst>
          </p:nvPr>
        </p:nvSpPr>
        <p:spPr>
          <a:xfrm>
            <a:off x="9143781" y="2768888"/>
            <a:ext cx="1196041" cy="34782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2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88" name="矩形 187"/>
          <p:cNvSpPr/>
          <p:nvPr>
            <p:custDataLst>
              <p:tags r:id="rId22"/>
            </p:custDataLst>
          </p:nvPr>
        </p:nvSpPr>
        <p:spPr>
          <a:xfrm>
            <a:off x="9143781" y="4576181"/>
            <a:ext cx="1196041" cy="39121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20XX</a:t>
            </a:r>
          </a:p>
        </p:txBody>
      </p:sp>
      <p:sp>
        <p:nvSpPr>
          <p:cNvPr id="189" name="任意多边形: 形状 188"/>
          <p:cNvSpPr/>
          <p:nvPr>
            <p:custDataLst>
              <p:tags r:id="rId23"/>
            </p:custDataLst>
          </p:nvPr>
        </p:nvSpPr>
        <p:spPr>
          <a:xfrm>
            <a:off x="1312964" y="2307615"/>
            <a:ext cx="333981" cy="406585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90" name="任意多边形: 形状 189"/>
          <p:cNvSpPr/>
          <p:nvPr>
            <p:custDataLst>
              <p:tags r:id="rId24"/>
            </p:custDataLst>
          </p:nvPr>
        </p:nvSpPr>
        <p:spPr>
          <a:xfrm>
            <a:off x="3342124" y="1410163"/>
            <a:ext cx="406585" cy="304939"/>
          </a:xfrm>
          <a:custGeom>
            <a:avLst/>
            <a:gdLst>
              <a:gd name="connsiteX0" fmla="*/ 504825 w 533400"/>
              <a:gd name="connsiteY0" fmla="*/ 0 h 400050"/>
              <a:gd name="connsiteX1" fmla="*/ 533400 w 533400"/>
              <a:gd name="connsiteY1" fmla="*/ 28575 h 400050"/>
              <a:gd name="connsiteX2" fmla="*/ 533400 w 533400"/>
              <a:gd name="connsiteY2" fmla="*/ 371475 h 400050"/>
              <a:gd name="connsiteX3" fmla="*/ 504825 w 533400"/>
              <a:gd name="connsiteY3" fmla="*/ 400050 h 400050"/>
              <a:gd name="connsiteX4" fmla="*/ 28575 w 533400"/>
              <a:gd name="connsiteY4" fmla="*/ 400050 h 400050"/>
              <a:gd name="connsiteX5" fmla="*/ 0 w 533400"/>
              <a:gd name="connsiteY5" fmla="*/ 371475 h 400050"/>
              <a:gd name="connsiteX6" fmla="*/ 0 w 533400"/>
              <a:gd name="connsiteY6" fmla="*/ 28575 h 400050"/>
              <a:gd name="connsiteX7" fmla="*/ 28575 w 533400"/>
              <a:gd name="connsiteY7" fmla="*/ 0 h 400050"/>
              <a:gd name="connsiteX8" fmla="*/ 504825 w 533400"/>
              <a:gd name="connsiteY8" fmla="*/ 0 h 400050"/>
              <a:gd name="connsiteX9" fmla="*/ 390811 w 533400"/>
              <a:gd name="connsiteY9" fmla="*/ 198025 h 400050"/>
              <a:gd name="connsiteX10" fmla="*/ 350806 w 533400"/>
              <a:gd name="connsiteY10" fmla="*/ 203549 h 400050"/>
              <a:gd name="connsiteX11" fmla="*/ 350806 w 533400"/>
              <a:gd name="connsiteY11" fmla="*/ 203549 h 400050"/>
              <a:gd name="connsiteX12" fmla="*/ 266510 w 533400"/>
              <a:gd name="connsiteY12" fmla="*/ 314992 h 400050"/>
              <a:gd name="connsiteX13" fmla="*/ 264033 w 533400"/>
              <a:gd name="connsiteY13" fmla="*/ 317849 h 400050"/>
              <a:gd name="connsiteX14" fmla="*/ 223647 w 533400"/>
              <a:gd name="connsiteY14" fmla="*/ 318135 h 400050"/>
              <a:gd name="connsiteX15" fmla="*/ 223647 w 533400"/>
              <a:gd name="connsiteY15" fmla="*/ 318135 h 400050"/>
              <a:gd name="connsiteX16" fmla="*/ 161544 w 533400"/>
              <a:gd name="connsiteY16" fmla="*/ 256794 h 400050"/>
              <a:gd name="connsiteX17" fmla="*/ 159639 w 533400"/>
              <a:gd name="connsiteY17" fmla="*/ 255079 h 400050"/>
              <a:gd name="connsiteX18" fmla="*/ 119444 w 533400"/>
              <a:gd name="connsiteY18" fmla="*/ 258985 h 400050"/>
              <a:gd name="connsiteX19" fmla="*/ 119444 w 533400"/>
              <a:gd name="connsiteY19" fmla="*/ 258985 h 400050"/>
              <a:gd name="connsiteX20" fmla="*/ 31909 w 533400"/>
              <a:gd name="connsiteY20" fmla="*/ 365474 h 400050"/>
              <a:gd name="connsiteX21" fmla="*/ 29718 w 533400"/>
              <a:gd name="connsiteY21" fmla="*/ 371475 h 400050"/>
              <a:gd name="connsiteX22" fmla="*/ 39243 w 533400"/>
              <a:gd name="connsiteY22" fmla="*/ 381000 h 400050"/>
              <a:gd name="connsiteX23" fmla="*/ 39243 w 533400"/>
              <a:gd name="connsiteY23" fmla="*/ 381000 h 400050"/>
              <a:gd name="connsiteX24" fmla="*/ 496634 w 533400"/>
              <a:gd name="connsiteY24" fmla="*/ 381000 h 400050"/>
              <a:gd name="connsiteX25" fmla="*/ 501872 w 533400"/>
              <a:gd name="connsiteY25" fmla="*/ 379381 h 400050"/>
              <a:gd name="connsiteX26" fmla="*/ 504539 w 533400"/>
              <a:gd name="connsiteY26" fmla="*/ 366141 h 400050"/>
              <a:gd name="connsiteX27" fmla="*/ 504539 w 533400"/>
              <a:gd name="connsiteY27" fmla="*/ 366141 h 400050"/>
              <a:gd name="connsiteX28" fmla="*/ 397383 w 533400"/>
              <a:gd name="connsiteY28" fmla="*/ 204883 h 400050"/>
              <a:gd name="connsiteX29" fmla="*/ 390811 w 533400"/>
              <a:gd name="connsiteY29" fmla="*/ 198025 h 400050"/>
              <a:gd name="connsiteX30" fmla="*/ 95250 w 533400"/>
              <a:gd name="connsiteY30" fmla="*/ 57150 h 400050"/>
              <a:gd name="connsiteX31" fmla="*/ 57150 w 533400"/>
              <a:gd name="connsiteY31" fmla="*/ 95250 h 400050"/>
              <a:gd name="connsiteX32" fmla="*/ 95250 w 533400"/>
              <a:gd name="connsiteY32" fmla="*/ 133350 h 400050"/>
              <a:gd name="connsiteX33" fmla="*/ 133350 w 533400"/>
              <a:gd name="connsiteY33" fmla="*/ 95250 h 400050"/>
              <a:gd name="connsiteX34" fmla="*/ 95250 w 533400"/>
              <a:gd name="connsiteY34" fmla="*/ 57150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33400" h="400050">
                <a:moveTo>
                  <a:pt x="504825" y="0"/>
                </a:moveTo>
                <a:cubicBezTo>
                  <a:pt x="520637" y="0"/>
                  <a:pt x="533400" y="12764"/>
                  <a:pt x="533400" y="28575"/>
                </a:cubicBezTo>
                <a:lnTo>
                  <a:pt x="533400" y="371475"/>
                </a:lnTo>
                <a:cubicBezTo>
                  <a:pt x="533400" y="387287"/>
                  <a:pt x="520637" y="400050"/>
                  <a:pt x="504825" y="400050"/>
                </a:cubicBezTo>
                <a:lnTo>
                  <a:pt x="28575" y="400050"/>
                </a:lnTo>
                <a:cubicBezTo>
                  <a:pt x="12763" y="400050"/>
                  <a:pt x="0" y="387287"/>
                  <a:pt x="0" y="371475"/>
                </a:cubicBezTo>
                <a:lnTo>
                  <a:pt x="0" y="28575"/>
                </a:lnTo>
                <a:cubicBezTo>
                  <a:pt x="0" y="12764"/>
                  <a:pt x="12763" y="0"/>
                  <a:pt x="28575" y="0"/>
                </a:cubicBezTo>
                <a:lnTo>
                  <a:pt x="504825" y="0"/>
                </a:lnTo>
                <a:close/>
                <a:moveTo>
                  <a:pt x="390811" y="198025"/>
                </a:moveTo>
                <a:cubicBezTo>
                  <a:pt x="378238" y="188500"/>
                  <a:pt x="360331" y="190976"/>
                  <a:pt x="350806" y="203549"/>
                </a:cubicBezTo>
                <a:lnTo>
                  <a:pt x="350806" y="203549"/>
                </a:lnTo>
                <a:lnTo>
                  <a:pt x="266510" y="314992"/>
                </a:lnTo>
                <a:cubicBezTo>
                  <a:pt x="265747" y="316040"/>
                  <a:pt x="264890" y="316897"/>
                  <a:pt x="264033" y="317849"/>
                </a:cubicBezTo>
                <a:cubicBezTo>
                  <a:pt x="252984" y="329089"/>
                  <a:pt x="234887" y="329184"/>
                  <a:pt x="223647" y="318135"/>
                </a:cubicBezTo>
                <a:lnTo>
                  <a:pt x="223647" y="318135"/>
                </a:lnTo>
                <a:lnTo>
                  <a:pt x="161544" y="256794"/>
                </a:lnTo>
                <a:cubicBezTo>
                  <a:pt x="160877" y="256223"/>
                  <a:pt x="160306" y="255556"/>
                  <a:pt x="159639" y="255079"/>
                </a:cubicBezTo>
                <a:cubicBezTo>
                  <a:pt x="147447" y="245078"/>
                  <a:pt x="129445" y="246793"/>
                  <a:pt x="119444" y="258985"/>
                </a:cubicBezTo>
                <a:lnTo>
                  <a:pt x="119444" y="258985"/>
                </a:lnTo>
                <a:lnTo>
                  <a:pt x="31909" y="365474"/>
                </a:lnTo>
                <a:cubicBezTo>
                  <a:pt x="30480" y="367189"/>
                  <a:pt x="29718" y="369284"/>
                  <a:pt x="29718" y="371475"/>
                </a:cubicBezTo>
                <a:cubicBezTo>
                  <a:pt x="29718" y="376714"/>
                  <a:pt x="34004" y="381000"/>
                  <a:pt x="39243" y="381000"/>
                </a:cubicBezTo>
                <a:lnTo>
                  <a:pt x="39243" y="381000"/>
                </a:lnTo>
                <a:lnTo>
                  <a:pt x="496634" y="381000"/>
                </a:lnTo>
                <a:cubicBezTo>
                  <a:pt x="498538" y="381000"/>
                  <a:pt x="500348" y="380429"/>
                  <a:pt x="501872" y="379381"/>
                </a:cubicBezTo>
                <a:cubicBezTo>
                  <a:pt x="506254" y="376428"/>
                  <a:pt x="507397" y="370523"/>
                  <a:pt x="504539" y="366141"/>
                </a:cubicBezTo>
                <a:lnTo>
                  <a:pt x="504539" y="366141"/>
                </a:lnTo>
                <a:lnTo>
                  <a:pt x="397383" y="204883"/>
                </a:lnTo>
                <a:cubicBezTo>
                  <a:pt x="395573" y="202311"/>
                  <a:pt x="393382" y="199930"/>
                  <a:pt x="390811" y="198025"/>
                </a:cubicBezTo>
                <a:close/>
                <a:moveTo>
                  <a:pt x="95250" y="57150"/>
                </a:moveTo>
                <a:cubicBezTo>
                  <a:pt x="74200" y="57150"/>
                  <a:pt x="57150" y="74200"/>
                  <a:pt x="57150" y="95250"/>
                </a:cubicBezTo>
                <a:cubicBezTo>
                  <a:pt x="57150" y="116300"/>
                  <a:pt x="74200" y="133350"/>
                  <a:pt x="95250" y="133350"/>
                </a:cubicBezTo>
                <a:cubicBezTo>
                  <a:pt x="116300" y="133350"/>
                  <a:pt x="133350" y="116300"/>
                  <a:pt x="133350" y="95250"/>
                </a:cubicBezTo>
                <a:cubicBezTo>
                  <a:pt x="133350" y="74200"/>
                  <a:pt x="116300" y="57150"/>
                  <a:pt x="95250" y="57150"/>
                </a:cubicBezTo>
                <a:close/>
              </a:path>
            </a:pathLst>
          </a:custGeom>
          <a:solidFill>
            <a:schemeClr val="lt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91" name="任意多边形: 形状 190"/>
          <p:cNvSpPr/>
          <p:nvPr>
            <p:custDataLst>
              <p:tags r:id="rId25"/>
            </p:custDataLst>
          </p:nvPr>
        </p:nvSpPr>
        <p:spPr>
          <a:xfrm>
            <a:off x="5407584" y="2311245"/>
            <a:ext cx="406585" cy="399325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92" name="任意多边形: 形状 191"/>
          <p:cNvSpPr/>
          <p:nvPr>
            <p:custDataLst>
              <p:tags r:id="rId26"/>
            </p:custDataLst>
          </p:nvPr>
        </p:nvSpPr>
        <p:spPr>
          <a:xfrm>
            <a:off x="7490877" y="1359340"/>
            <a:ext cx="370920" cy="406585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lt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93" name="任意多边形: 形状 192"/>
          <p:cNvSpPr/>
          <p:nvPr>
            <p:custDataLst>
              <p:tags r:id="rId27"/>
            </p:custDataLst>
          </p:nvPr>
        </p:nvSpPr>
        <p:spPr>
          <a:xfrm>
            <a:off x="9549596" y="2307615"/>
            <a:ext cx="384408" cy="406585"/>
          </a:xfrm>
          <a:custGeom>
            <a:avLst/>
            <a:gdLst>
              <a:gd name="connsiteX0" fmla="*/ 371475 w 495300"/>
              <a:gd name="connsiteY0" fmla="*/ 0 h 523875"/>
              <a:gd name="connsiteX1" fmla="*/ 400050 w 495300"/>
              <a:gd name="connsiteY1" fmla="*/ 28575 h 523875"/>
              <a:gd name="connsiteX2" fmla="*/ 400050 w 495300"/>
              <a:gd name="connsiteY2" fmla="*/ 133350 h 523875"/>
              <a:gd name="connsiteX3" fmla="*/ 371475 w 495300"/>
              <a:gd name="connsiteY3" fmla="*/ 161925 h 523875"/>
              <a:gd name="connsiteX4" fmla="*/ 257175 w 495300"/>
              <a:gd name="connsiteY4" fmla="*/ 161925 h 523875"/>
              <a:gd name="connsiteX5" fmla="*/ 257175 w 495300"/>
              <a:gd name="connsiteY5" fmla="*/ 285750 h 523875"/>
              <a:gd name="connsiteX6" fmla="*/ 419100 w 495300"/>
              <a:gd name="connsiteY6" fmla="*/ 285750 h 523875"/>
              <a:gd name="connsiteX7" fmla="*/ 457200 w 495300"/>
              <a:gd name="connsiteY7" fmla="*/ 321945 h 523875"/>
              <a:gd name="connsiteX8" fmla="*/ 457200 w 495300"/>
              <a:gd name="connsiteY8" fmla="*/ 323850 h 523875"/>
              <a:gd name="connsiteX9" fmla="*/ 457200 w 495300"/>
              <a:gd name="connsiteY9" fmla="*/ 428625 h 523875"/>
              <a:gd name="connsiteX10" fmla="*/ 476250 w 495300"/>
              <a:gd name="connsiteY10" fmla="*/ 428625 h 523875"/>
              <a:gd name="connsiteX11" fmla="*/ 495300 w 495300"/>
              <a:gd name="connsiteY11" fmla="*/ 447675 h 523875"/>
              <a:gd name="connsiteX12" fmla="*/ 495300 w 495300"/>
              <a:gd name="connsiteY12" fmla="*/ 504825 h 523875"/>
              <a:gd name="connsiteX13" fmla="*/ 476250 w 495300"/>
              <a:gd name="connsiteY13" fmla="*/ 523875 h 523875"/>
              <a:gd name="connsiteX14" fmla="*/ 419100 w 495300"/>
              <a:gd name="connsiteY14" fmla="*/ 523875 h 523875"/>
              <a:gd name="connsiteX15" fmla="*/ 400050 w 495300"/>
              <a:gd name="connsiteY15" fmla="*/ 504825 h 523875"/>
              <a:gd name="connsiteX16" fmla="*/ 400050 w 495300"/>
              <a:gd name="connsiteY16" fmla="*/ 447675 h 523875"/>
              <a:gd name="connsiteX17" fmla="*/ 419100 w 495300"/>
              <a:gd name="connsiteY17" fmla="*/ 428625 h 523875"/>
              <a:gd name="connsiteX18" fmla="*/ 438150 w 495300"/>
              <a:gd name="connsiteY18" fmla="*/ 428625 h 523875"/>
              <a:gd name="connsiteX19" fmla="*/ 438150 w 495300"/>
              <a:gd name="connsiteY19" fmla="*/ 323850 h 523875"/>
              <a:gd name="connsiteX20" fmla="*/ 420529 w 495300"/>
              <a:gd name="connsiteY20" fmla="*/ 304895 h 523875"/>
              <a:gd name="connsiteX21" fmla="*/ 419100 w 495300"/>
              <a:gd name="connsiteY21" fmla="*/ 304800 h 523875"/>
              <a:gd name="connsiteX22" fmla="*/ 257175 w 495300"/>
              <a:gd name="connsiteY22" fmla="*/ 304800 h 523875"/>
              <a:gd name="connsiteX23" fmla="*/ 257175 w 495300"/>
              <a:gd name="connsiteY23" fmla="*/ 428625 h 523875"/>
              <a:gd name="connsiteX24" fmla="*/ 276225 w 495300"/>
              <a:gd name="connsiteY24" fmla="*/ 428625 h 523875"/>
              <a:gd name="connsiteX25" fmla="*/ 295275 w 495300"/>
              <a:gd name="connsiteY25" fmla="*/ 447675 h 523875"/>
              <a:gd name="connsiteX26" fmla="*/ 295275 w 495300"/>
              <a:gd name="connsiteY26" fmla="*/ 504825 h 523875"/>
              <a:gd name="connsiteX27" fmla="*/ 276225 w 495300"/>
              <a:gd name="connsiteY27" fmla="*/ 523875 h 523875"/>
              <a:gd name="connsiteX28" fmla="*/ 219075 w 495300"/>
              <a:gd name="connsiteY28" fmla="*/ 523875 h 523875"/>
              <a:gd name="connsiteX29" fmla="*/ 200025 w 495300"/>
              <a:gd name="connsiteY29" fmla="*/ 504825 h 523875"/>
              <a:gd name="connsiteX30" fmla="*/ 200025 w 495300"/>
              <a:gd name="connsiteY30" fmla="*/ 447675 h 523875"/>
              <a:gd name="connsiteX31" fmla="*/ 219075 w 495300"/>
              <a:gd name="connsiteY31" fmla="*/ 428625 h 523875"/>
              <a:gd name="connsiteX32" fmla="*/ 238125 w 495300"/>
              <a:gd name="connsiteY32" fmla="*/ 428625 h 523875"/>
              <a:gd name="connsiteX33" fmla="*/ 238125 w 495300"/>
              <a:gd name="connsiteY33" fmla="*/ 304800 h 523875"/>
              <a:gd name="connsiteX34" fmla="*/ 76200 w 495300"/>
              <a:gd name="connsiteY34" fmla="*/ 304800 h 523875"/>
              <a:gd name="connsiteX35" fmla="*/ 57245 w 495300"/>
              <a:gd name="connsiteY35" fmla="*/ 322421 h 523875"/>
              <a:gd name="connsiteX36" fmla="*/ 57150 w 495300"/>
              <a:gd name="connsiteY36" fmla="*/ 323850 h 523875"/>
              <a:gd name="connsiteX37" fmla="*/ 57150 w 495300"/>
              <a:gd name="connsiteY37" fmla="*/ 428625 h 523875"/>
              <a:gd name="connsiteX38" fmla="*/ 76200 w 495300"/>
              <a:gd name="connsiteY38" fmla="*/ 428625 h 523875"/>
              <a:gd name="connsiteX39" fmla="*/ 95250 w 495300"/>
              <a:gd name="connsiteY39" fmla="*/ 447675 h 523875"/>
              <a:gd name="connsiteX40" fmla="*/ 95250 w 495300"/>
              <a:gd name="connsiteY40" fmla="*/ 504825 h 523875"/>
              <a:gd name="connsiteX41" fmla="*/ 76200 w 495300"/>
              <a:gd name="connsiteY41" fmla="*/ 523875 h 523875"/>
              <a:gd name="connsiteX42" fmla="*/ 19050 w 495300"/>
              <a:gd name="connsiteY42" fmla="*/ 523875 h 523875"/>
              <a:gd name="connsiteX43" fmla="*/ 0 w 495300"/>
              <a:gd name="connsiteY43" fmla="*/ 504825 h 523875"/>
              <a:gd name="connsiteX44" fmla="*/ 0 w 495300"/>
              <a:gd name="connsiteY44" fmla="*/ 447675 h 523875"/>
              <a:gd name="connsiteX45" fmla="*/ 19050 w 495300"/>
              <a:gd name="connsiteY45" fmla="*/ 428625 h 523875"/>
              <a:gd name="connsiteX46" fmla="*/ 38100 w 495300"/>
              <a:gd name="connsiteY46" fmla="*/ 428625 h 523875"/>
              <a:gd name="connsiteX47" fmla="*/ 38100 w 495300"/>
              <a:gd name="connsiteY47" fmla="*/ 323850 h 523875"/>
              <a:gd name="connsiteX48" fmla="*/ 74295 w 495300"/>
              <a:gd name="connsiteY48" fmla="*/ 285750 h 523875"/>
              <a:gd name="connsiteX49" fmla="*/ 76200 w 495300"/>
              <a:gd name="connsiteY49" fmla="*/ 285750 h 523875"/>
              <a:gd name="connsiteX50" fmla="*/ 238125 w 495300"/>
              <a:gd name="connsiteY50" fmla="*/ 285750 h 523875"/>
              <a:gd name="connsiteX51" fmla="*/ 238125 w 495300"/>
              <a:gd name="connsiteY51" fmla="*/ 161925 h 523875"/>
              <a:gd name="connsiteX52" fmla="*/ 123825 w 495300"/>
              <a:gd name="connsiteY52" fmla="*/ 161925 h 523875"/>
              <a:gd name="connsiteX53" fmla="*/ 95250 w 495300"/>
              <a:gd name="connsiteY53" fmla="*/ 133350 h 523875"/>
              <a:gd name="connsiteX54" fmla="*/ 95250 w 495300"/>
              <a:gd name="connsiteY54" fmla="*/ 28575 h 523875"/>
              <a:gd name="connsiteX55" fmla="*/ 123825 w 495300"/>
              <a:gd name="connsiteY55" fmla="*/ 0 h 523875"/>
              <a:gd name="connsiteX56" fmla="*/ 371475 w 495300"/>
              <a:gd name="connsiteY56" fmla="*/ 0 h 523875"/>
              <a:gd name="connsiteX57" fmla="*/ 147638 w 495300"/>
              <a:gd name="connsiteY57" fmla="*/ 95250 h 523875"/>
              <a:gd name="connsiteX58" fmla="*/ 133350 w 495300"/>
              <a:gd name="connsiteY58" fmla="*/ 109538 h 523875"/>
              <a:gd name="connsiteX59" fmla="*/ 147638 w 495300"/>
              <a:gd name="connsiteY59" fmla="*/ 123825 h 523875"/>
              <a:gd name="connsiteX60" fmla="*/ 161925 w 495300"/>
              <a:gd name="connsiteY60" fmla="*/ 109538 h 523875"/>
              <a:gd name="connsiteX61" fmla="*/ 147638 w 495300"/>
              <a:gd name="connsiteY61" fmla="*/ 9525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95300" h="523875">
                <a:moveTo>
                  <a:pt x="371475" y="0"/>
                </a:moveTo>
                <a:cubicBezTo>
                  <a:pt x="387287" y="0"/>
                  <a:pt x="400050" y="12763"/>
                  <a:pt x="400050" y="28575"/>
                </a:cubicBezTo>
                <a:lnTo>
                  <a:pt x="400050" y="133350"/>
                </a:lnTo>
                <a:cubicBezTo>
                  <a:pt x="400050" y="149162"/>
                  <a:pt x="387287" y="161925"/>
                  <a:pt x="371475" y="161925"/>
                </a:cubicBezTo>
                <a:lnTo>
                  <a:pt x="257175" y="161925"/>
                </a:lnTo>
                <a:lnTo>
                  <a:pt x="257175" y="285750"/>
                </a:lnTo>
                <a:lnTo>
                  <a:pt x="419100" y="285750"/>
                </a:lnTo>
                <a:cubicBezTo>
                  <a:pt x="439484" y="285750"/>
                  <a:pt x="456152" y="301752"/>
                  <a:pt x="457200" y="321945"/>
                </a:cubicBezTo>
                <a:lnTo>
                  <a:pt x="457200" y="323850"/>
                </a:lnTo>
                <a:lnTo>
                  <a:pt x="457200" y="428625"/>
                </a:lnTo>
                <a:lnTo>
                  <a:pt x="476250" y="428625"/>
                </a:lnTo>
                <a:cubicBezTo>
                  <a:pt x="486728" y="428625"/>
                  <a:pt x="495300" y="437198"/>
                  <a:pt x="495300" y="447675"/>
                </a:cubicBezTo>
                <a:lnTo>
                  <a:pt x="495300" y="504825"/>
                </a:lnTo>
                <a:cubicBezTo>
                  <a:pt x="495300" y="515303"/>
                  <a:pt x="486728" y="523875"/>
                  <a:pt x="476250" y="523875"/>
                </a:cubicBezTo>
                <a:lnTo>
                  <a:pt x="419100" y="523875"/>
                </a:lnTo>
                <a:cubicBezTo>
                  <a:pt x="408622" y="523875"/>
                  <a:pt x="400050" y="515303"/>
                  <a:pt x="400050" y="504825"/>
                </a:cubicBezTo>
                <a:lnTo>
                  <a:pt x="400050" y="447675"/>
                </a:lnTo>
                <a:cubicBezTo>
                  <a:pt x="400050" y="437198"/>
                  <a:pt x="408622" y="428625"/>
                  <a:pt x="419100" y="428625"/>
                </a:cubicBezTo>
                <a:lnTo>
                  <a:pt x="438150" y="428625"/>
                </a:lnTo>
                <a:lnTo>
                  <a:pt x="438150" y="323850"/>
                </a:lnTo>
                <a:cubicBezTo>
                  <a:pt x="438150" y="313849"/>
                  <a:pt x="430339" y="305562"/>
                  <a:pt x="420529" y="304895"/>
                </a:cubicBezTo>
                <a:lnTo>
                  <a:pt x="419100" y="304800"/>
                </a:lnTo>
                <a:lnTo>
                  <a:pt x="257175" y="304800"/>
                </a:lnTo>
                <a:lnTo>
                  <a:pt x="257175" y="428625"/>
                </a:lnTo>
                <a:lnTo>
                  <a:pt x="276225" y="428625"/>
                </a:lnTo>
                <a:cubicBezTo>
                  <a:pt x="286703" y="428625"/>
                  <a:pt x="295275" y="437198"/>
                  <a:pt x="295275" y="447675"/>
                </a:cubicBezTo>
                <a:lnTo>
                  <a:pt x="295275" y="504825"/>
                </a:lnTo>
                <a:cubicBezTo>
                  <a:pt x="295275" y="515303"/>
                  <a:pt x="286703" y="523875"/>
                  <a:pt x="276225" y="523875"/>
                </a:cubicBezTo>
                <a:lnTo>
                  <a:pt x="219075" y="523875"/>
                </a:lnTo>
                <a:cubicBezTo>
                  <a:pt x="208597" y="523875"/>
                  <a:pt x="200025" y="515303"/>
                  <a:pt x="200025" y="504825"/>
                </a:cubicBezTo>
                <a:lnTo>
                  <a:pt x="200025" y="447675"/>
                </a:lnTo>
                <a:cubicBezTo>
                  <a:pt x="200025" y="437198"/>
                  <a:pt x="208597" y="428625"/>
                  <a:pt x="219075" y="428625"/>
                </a:cubicBezTo>
                <a:lnTo>
                  <a:pt x="238125" y="428625"/>
                </a:lnTo>
                <a:lnTo>
                  <a:pt x="238125" y="304800"/>
                </a:lnTo>
                <a:lnTo>
                  <a:pt x="76200" y="304800"/>
                </a:lnTo>
                <a:cubicBezTo>
                  <a:pt x="66199" y="304800"/>
                  <a:pt x="57912" y="312611"/>
                  <a:pt x="57245" y="322421"/>
                </a:cubicBezTo>
                <a:lnTo>
                  <a:pt x="57150" y="323850"/>
                </a:lnTo>
                <a:lnTo>
                  <a:pt x="57150" y="428625"/>
                </a:lnTo>
                <a:lnTo>
                  <a:pt x="76200" y="428625"/>
                </a:lnTo>
                <a:cubicBezTo>
                  <a:pt x="86678" y="428625"/>
                  <a:pt x="95250" y="437198"/>
                  <a:pt x="95250" y="447675"/>
                </a:cubicBezTo>
                <a:lnTo>
                  <a:pt x="95250" y="504825"/>
                </a:lnTo>
                <a:cubicBezTo>
                  <a:pt x="95250" y="515303"/>
                  <a:pt x="86678" y="523875"/>
                  <a:pt x="76200" y="523875"/>
                </a:cubicBezTo>
                <a:lnTo>
                  <a:pt x="19050" y="523875"/>
                </a:lnTo>
                <a:cubicBezTo>
                  <a:pt x="8573" y="523875"/>
                  <a:pt x="0" y="515303"/>
                  <a:pt x="0" y="504825"/>
                </a:cubicBezTo>
                <a:lnTo>
                  <a:pt x="0" y="447675"/>
                </a:lnTo>
                <a:cubicBezTo>
                  <a:pt x="0" y="437198"/>
                  <a:pt x="8573" y="428625"/>
                  <a:pt x="19050" y="428625"/>
                </a:cubicBezTo>
                <a:lnTo>
                  <a:pt x="38100" y="428625"/>
                </a:lnTo>
                <a:lnTo>
                  <a:pt x="38100" y="323850"/>
                </a:lnTo>
                <a:cubicBezTo>
                  <a:pt x="38100" y="303467"/>
                  <a:pt x="54102" y="286798"/>
                  <a:pt x="74295" y="285750"/>
                </a:cubicBezTo>
                <a:lnTo>
                  <a:pt x="76200" y="285750"/>
                </a:lnTo>
                <a:lnTo>
                  <a:pt x="238125" y="285750"/>
                </a:lnTo>
                <a:lnTo>
                  <a:pt x="238125" y="161925"/>
                </a:lnTo>
                <a:lnTo>
                  <a:pt x="123825" y="161925"/>
                </a:lnTo>
                <a:cubicBezTo>
                  <a:pt x="108013" y="161925"/>
                  <a:pt x="95250" y="149162"/>
                  <a:pt x="95250" y="133350"/>
                </a:cubicBezTo>
                <a:lnTo>
                  <a:pt x="95250" y="28575"/>
                </a:lnTo>
                <a:cubicBezTo>
                  <a:pt x="95250" y="12763"/>
                  <a:pt x="108013" y="0"/>
                  <a:pt x="123825" y="0"/>
                </a:cubicBezTo>
                <a:lnTo>
                  <a:pt x="371475" y="0"/>
                </a:lnTo>
                <a:close/>
                <a:moveTo>
                  <a:pt x="147638" y="95250"/>
                </a:moveTo>
                <a:cubicBezTo>
                  <a:pt x="139732" y="95250"/>
                  <a:pt x="133350" y="101632"/>
                  <a:pt x="133350" y="109538"/>
                </a:cubicBezTo>
                <a:cubicBezTo>
                  <a:pt x="133350" y="117443"/>
                  <a:pt x="139732" y="123825"/>
                  <a:pt x="147638" y="123825"/>
                </a:cubicBezTo>
                <a:cubicBezTo>
                  <a:pt x="155543" y="123825"/>
                  <a:pt x="161925" y="117443"/>
                  <a:pt x="161925" y="109538"/>
                </a:cubicBezTo>
                <a:cubicBezTo>
                  <a:pt x="161925" y="101632"/>
                  <a:pt x="155543" y="95250"/>
                  <a:pt x="147638" y="9525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118" name="等腰三角形 117"/>
          <p:cNvSpPr/>
          <p:nvPr>
            <p:custDataLst>
              <p:tags r:id="rId2"/>
            </p:custDataLst>
          </p:nvPr>
        </p:nvSpPr>
        <p:spPr>
          <a:xfrm rot="16200000">
            <a:off x="4390527" y="1286718"/>
            <a:ext cx="1867253" cy="154369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9" name="等腰三角形 118"/>
          <p:cNvSpPr/>
          <p:nvPr>
            <p:custDataLst>
              <p:tags r:id="rId3"/>
            </p:custDataLst>
          </p:nvPr>
        </p:nvSpPr>
        <p:spPr>
          <a:xfrm rot="16200000">
            <a:off x="4390527" y="3514052"/>
            <a:ext cx="1867253" cy="154369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43" name="等腰三角形 142"/>
          <p:cNvSpPr/>
          <p:nvPr>
            <p:custDataLst>
              <p:tags r:id="rId4"/>
            </p:custDataLst>
          </p:nvPr>
        </p:nvSpPr>
        <p:spPr>
          <a:xfrm rot="5400000" flipH="1">
            <a:off x="5934220" y="2221335"/>
            <a:ext cx="1867253" cy="1543693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44" name="等腰三角形 143"/>
          <p:cNvSpPr/>
          <p:nvPr>
            <p:custDataLst>
              <p:tags r:id="rId5"/>
            </p:custDataLst>
          </p:nvPr>
        </p:nvSpPr>
        <p:spPr>
          <a:xfrm rot="5400000" flipH="1">
            <a:off x="5934220" y="4446689"/>
            <a:ext cx="1867253" cy="1543693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41" name="矩形 140"/>
          <p:cNvSpPr/>
          <p:nvPr>
            <p:custDataLst>
              <p:tags r:id="rId6"/>
            </p:custDataLst>
          </p:nvPr>
        </p:nvSpPr>
        <p:spPr bwMode="auto">
          <a:xfrm>
            <a:off x="669925" y="4117552"/>
            <a:ext cx="328515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2" name="文本框 141"/>
          <p:cNvSpPr txBox="1"/>
          <p:nvPr>
            <p:custDataLst>
              <p:tags r:id="rId7"/>
            </p:custDataLst>
          </p:nvPr>
        </p:nvSpPr>
        <p:spPr bwMode="auto">
          <a:xfrm>
            <a:off x="669925" y="3729954"/>
            <a:ext cx="328515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39" name="矩形 138"/>
          <p:cNvSpPr/>
          <p:nvPr>
            <p:custDataLst>
              <p:tags r:id="rId8"/>
            </p:custDataLst>
          </p:nvPr>
        </p:nvSpPr>
        <p:spPr bwMode="auto">
          <a:xfrm>
            <a:off x="673571" y="1890218"/>
            <a:ext cx="328515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0" name="文本框 139"/>
          <p:cNvSpPr txBox="1"/>
          <p:nvPr>
            <p:custDataLst>
              <p:tags r:id="rId9"/>
            </p:custDataLst>
          </p:nvPr>
        </p:nvSpPr>
        <p:spPr bwMode="auto">
          <a:xfrm>
            <a:off x="673571" y="1502620"/>
            <a:ext cx="328515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127" name="直接连接符 126"/>
          <p:cNvCxnSpPr/>
          <p:nvPr>
            <p:custDataLst>
              <p:tags r:id="rId10"/>
            </p:custDataLst>
          </p:nvPr>
        </p:nvCxnSpPr>
        <p:spPr>
          <a:xfrm>
            <a:off x="669925" y="3193734"/>
            <a:ext cx="3423067" cy="0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矩形 136"/>
          <p:cNvSpPr/>
          <p:nvPr>
            <p:custDataLst>
              <p:tags r:id="rId11"/>
            </p:custDataLst>
          </p:nvPr>
        </p:nvSpPr>
        <p:spPr bwMode="auto">
          <a:xfrm>
            <a:off x="8210606" y="5051179"/>
            <a:ext cx="3309878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38" name="文本框 137"/>
          <p:cNvSpPr txBox="1"/>
          <p:nvPr>
            <p:custDataLst>
              <p:tags r:id="rId12"/>
            </p:custDataLst>
          </p:nvPr>
        </p:nvSpPr>
        <p:spPr bwMode="auto">
          <a:xfrm>
            <a:off x="8210606" y="4663581"/>
            <a:ext cx="3309878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35" name="矩形 134"/>
          <p:cNvSpPr/>
          <p:nvPr>
            <p:custDataLst>
              <p:tags r:id="rId13"/>
            </p:custDataLst>
          </p:nvPr>
        </p:nvSpPr>
        <p:spPr bwMode="auto">
          <a:xfrm>
            <a:off x="8214132" y="2823845"/>
            <a:ext cx="3309878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36" name="文本框 135"/>
          <p:cNvSpPr txBox="1"/>
          <p:nvPr>
            <p:custDataLst>
              <p:tags r:id="rId14"/>
            </p:custDataLst>
          </p:nvPr>
        </p:nvSpPr>
        <p:spPr bwMode="auto">
          <a:xfrm>
            <a:off x="8214133" y="2436247"/>
            <a:ext cx="3309879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130" name="直接连接符 129"/>
          <p:cNvCxnSpPr/>
          <p:nvPr>
            <p:custDataLst>
              <p:tags r:id="rId15"/>
            </p:custDataLst>
          </p:nvPr>
        </p:nvCxnSpPr>
        <p:spPr>
          <a:xfrm>
            <a:off x="8210607" y="4127361"/>
            <a:ext cx="3309879" cy="0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椭圆 130"/>
          <p:cNvSpPr/>
          <p:nvPr>
            <p:custDataLst>
              <p:tags r:id="rId16"/>
            </p:custDataLst>
          </p:nvPr>
        </p:nvSpPr>
        <p:spPr>
          <a:xfrm>
            <a:off x="4040289" y="1742899"/>
            <a:ext cx="631332" cy="631332"/>
          </a:xfrm>
          <a:prstGeom prst="ellipse">
            <a:avLst/>
          </a:prstGeom>
          <a:solidFill>
            <a:schemeClr val="l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b="1" dirty="0">
                <a:solidFill>
                  <a:srgbClr val="FFFFFF"/>
                </a:solidFill>
                <a:cs typeface="+mn-ea"/>
                <a:sym typeface="+mn-lt"/>
              </a:rPr>
              <a:t>1</a:t>
            </a:r>
          </a:p>
        </p:txBody>
      </p:sp>
      <p:sp>
        <p:nvSpPr>
          <p:cNvPr id="132" name="椭圆 131"/>
          <p:cNvSpPr/>
          <p:nvPr>
            <p:custDataLst>
              <p:tags r:id="rId17"/>
            </p:custDataLst>
          </p:nvPr>
        </p:nvSpPr>
        <p:spPr>
          <a:xfrm>
            <a:off x="4040289" y="3970232"/>
            <a:ext cx="631332" cy="631332"/>
          </a:xfrm>
          <a:prstGeom prst="ellipse">
            <a:avLst/>
          </a:prstGeom>
          <a:solidFill>
            <a:schemeClr val="l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b="1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</a:p>
        </p:txBody>
      </p:sp>
      <p:sp>
        <p:nvSpPr>
          <p:cNvPr id="133" name="椭圆 132"/>
          <p:cNvSpPr/>
          <p:nvPr>
            <p:custDataLst>
              <p:tags r:id="rId18"/>
            </p:custDataLst>
          </p:nvPr>
        </p:nvSpPr>
        <p:spPr>
          <a:xfrm>
            <a:off x="7528090" y="2676525"/>
            <a:ext cx="631332" cy="63133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b="1" dirty="0">
                <a:solidFill>
                  <a:srgbClr val="FFFFFF"/>
                </a:solidFill>
                <a:cs typeface="+mn-ea"/>
                <a:sym typeface="+mn-lt"/>
              </a:rPr>
              <a:t>2</a:t>
            </a:r>
          </a:p>
        </p:txBody>
      </p:sp>
      <p:sp>
        <p:nvSpPr>
          <p:cNvPr id="134" name="椭圆 133"/>
          <p:cNvSpPr/>
          <p:nvPr>
            <p:custDataLst>
              <p:tags r:id="rId19"/>
            </p:custDataLst>
          </p:nvPr>
        </p:nvSpPr>
        <p:spPr>
          <a:xfrm>
            <a:off x="7528090" y="4902869"/>
            <a:ext cx="631332" cy="63133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b="1" dirty="0">
                <a:solidFill>
                  <a:srgbClr val="FFFFFF"/>
                </a:solidFill>
                <a:cs typeface="+mn-ea"/>
                <a:sym typeface="+mn-lt"/>
              </a:rPr>
              <a:t>4</a:t>
            </a:r>
          </a:p>
        </p:txBody>
      </p:sp>
    </p:spTree>
    <p:custDataLst>
      <p:tags r:id="rId1"/>
    </p:custData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138" name="文本框 137"/>
          <p:cNvSpPr txBox="1"/>
          <p:nvPr>
            <p:custDataLst>
              <p:tags r:id="rId2"/>
            </p:custDataLst>
          </p:nvPr>
        </p:nvSpPr>
        <p:spPr>
          <a:xfrm>
            <a:off x="1813331" y="1687831"/>
            <a:ext cx="977088" cy="44767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u="sng" dirty="0">
                <a:solidFill>
                  <a:schemeClr val="dk1"/>
                </a:solidFill>
                <a:cs typeface="+mn-ea"/>
                <a:sym typeface="+mn-lt"/>
              </a:rPr>
              <a:t>01.Text</a:t>
            </a:r>
          </a:p>
        </p:txBody>
      </p:sp>
      <p:sp>
        <p:nvSpPr>
          <p:cNvPr id="139" name="文本框 138"/>
          <p:cNvSpPr txBox="1"/>
          <p:nvPr>
            <p:custDataLst>
              <p:tags r:id="rId3"/>
            </p:custDataLst>
          </p:nvPr>
        </p:nvSpPr>
        <p:spPr>
          <a:xfrm>
            <a:off x="5601106" y="1687831"/>
            <a:ext cx="977088" cy="44767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u="sng" dirty="0">
                <a:solidFill>
                  <a:schemeClr val="dk1"/>
                </a:solidFill>
                <a:cs typeface="+mn-ea"/>
                <a:sym typeface="+mn-lt"/>
              </a:rPr>
              <a:t>02.Text</a:t>
            </a:r>
          </a:p>
        </p:txBody>
      </p:sp>
      <p:sp>
        <p:nvSpPr>
          <p:cNvPr id="140" name="文本框 139"/>
          <p:cNvSpPr txBox="1"/>
          <p:nvPr>
            <p:custDataLst>
              <p:tags r:id="rId4"/>
            </p:custDataLst>
          </p:nvPr>
        </p:nvSpPr>
        <p:spPr>
          <a:xfrm>
            <a:off x="9388881" y="1687831"/>
            <a:ext cx="977088" cy="44767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u="sng" dirty="0">
                <a:solidFill>
                  <a:schemeClr val="dk1"/>
                </a:solidFill>
                <a:cs typeface="+mn-ea"/>
                <a:sym typeface="+mn-lt"/>
              </a:rPr>
              <a:t>03.Text</a:t>
            </a:r>
          </a:p>
        </p:txBody>
      </p:sp>
      <p:sp>
        <p:nvSpPr>
          <p:cNvPr id="165" name="任意多边形: 形状 164"/>
          <p:cNvSpPr/>
          <p:nvPr>
            <p:custDataLst>
              <p:tags r:id="rId5"/>
            </p:custDataLst>
          </p:nvPr>
        </p:nvSpPr>
        <p:spPr>
          <a:xfrm>
            <a:off x="1737638" y="2355756"/>
            <a:ext cx="1128474" cy="362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3175">
            <a:solidFill>
              <a:schemeClr val="accent2"/>
            </a:solidFill>
            <a:prstDash val="dash"/>
            <a:miter lim="400000"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600"/>
            </a:pPr>
            <a:endParaRPr sz="18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6" name="椭圆 165"/>
          <p:cNvSpPr/>
          <p:nvPr>
            <p:custDataLst>
              <p:tags r:id="rId6"/>
            </p:custDataLst>
          </p:nvPr>
        </p:nvSpPr>
        <p:spPr bwMode="auto">
          <a:xfrm>
            <a:off x="948813" y="2795349"/>
            <a:ext cx="987538" cy="987538"/>
          </a:xfrm>
          <a:prstGeom prst="ellipse">
            <a:avLst/>
          </a:prstGeom>
          <a:solidFill>
            <a:schemeClr val="lt1"/>
          </a:solidFill>
          <a:ln w="0">
            <a:noFill/>
            <a:prstDash val="solid"/>
            <a:round/>
          </a:ln>
          <a:effectLst>
            <a:outerShdw blurRad="63500" dist="38100" dir="8100000" algn="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7" name="椭圆 166"/>
          <p:cNvSpPr/>
          <p:nvPr>
            <p:custDataLst>
              <p:tags r:id="rId7"/>
            </p:custDataLst>
          </p:nvPr>
        </p:nvSpPr>
        <p:spPr bwMode="auto">
          <a:xfrm>
            <a:off x="2667400" y="2795349"/>
            <a:ext cx="987538" cy="987538"/>
          </a:xfrm>
          <a:prstGeom prst="ellipse">
            <a:avLst/>
          </a:prstGeom>
          <a:solidFill>
            <a:schemeClr val="lt1"/>
          </a:solidFill>
          <a:ln w="0">
            <a:noFill/>
            <a:prstDash val="solid"/>
            <a:round/>
          </a:ln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8" name="任意多边形: 形状 167"/>
          <p:cNvSpPr/>
          <p:nvPr>
            <p:custDataLst>
              <p:tags r:id="rId8"/>
            </p:custDataLst>
          </p:nvPr>
        </p:nvSpPr>
        <p:spPr>
          <a:xfrm>
            <a:off x="1264447" y="3093856"/>
            <a:ext cx="356268" cy="39052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9" name="任意多边形: 形状 168"/>
          <p:cNvSpPr/>
          <p:nvPr>
            <p:custDataLst>
              <p:tags r:id="rId9"/>
            </p:custDataLst>
          </p:nvPr>
        </p:nvSpPr>
        <p:spPr>
          <a:xfrm>
            <a:off x="2965906" y="3126559"/>
            <a:ext cx="390524" cy="325117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0" name="任意多边形: 形状 159"/>
          <p:cNvSpPr/>
          <p:nvPr>
            <p:custDataLst>
              <p:tags r:id="rId10"/>
            </p:custDataLst>
          </p:nvPr>
        </p:nvSpPr>
        <p:spPr>
          <a:xfrm>
            <a:off x="5525413" y="2355756"/>
            <a:ext cx="1128474" cy="362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3175">
            <a:solidFill>
              <a:schemeClr val="accent5"/>
            </a:solidFill>
            <a:prstDash val="dash"/>
            <a:miter lim="400000"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600"/>
            </a:pPr>
            <a:endParaRPr sz="18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1" name="椭圆 160"/>
          <p:cNvSpPr/>
          <p:nvPr>
            <p:custDataLst>
              <p:tags r:id="rId11"/>
            </p:custDataLst>
          </p:nvPr>
        </p:nvSpPr>
        <p:spPr bwMode="auto">
          <a:xfrm>
            <a:off x="4736588" y="2795349"/>
            <a:ext cx="987538" cy="987538"/>
          </a:xfrm>
          <a:prstGeom prst="ellipse">
            <a:avLst/>
          </a:prstGeom>
          <a:solidFill>
            <a:schemeClr val="lt1"/>
          </a:solidFill>
          <a:ln w="0">
            <a:noFill/>
            <a:prstDash val="solid"/>
            <a:round/>
          </a:ln>
          <a:effectLst>
            <a:outerShdw blurRad="63500" dist="38100" dir="8100000" algn="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2" name="椭圆 161"/>
          <p:cNvSpPr/>
          <p:nvPr>
            <p:custDataLst>
              <p:tags r:id="rId12"/>
            </p:custDataLst>
          </p:nvPr>
        </p:nvSpPr>
        <p:spPr bwMode="auto">
          <a:xfrm>
            <a:off x="6455175" y="2795349"/>
            <a:ext cx="987538" cy="987538"/>
          </a:xfrm>
          <a:prstGeom prst="ellipse">
            <a:avLst/>
          </a:prstGeom>
          <a:solidFill>
            <a:schemeClr val="lt1"/>
          </a:solidFill>
          <a:ln w="0">
            <a:noFill/>
            <a:prstDash val="solid"/>
            <a:round/>
          </a:ln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3" name="任意多边形: 形状 162"/>
          <p:cNvSpPr/>
          <p:nvPr>
            <p:custDataLst>
              <p:tags r:id="rId13"/>
            </p:custDataLst>
          </p:nvPr>
        </p:nvSpPr>
        <p:spPr>
          <a:xfrm>
            <a:off x="5048777" y="3093856"/>
            <a:ext cx="363157" cy="390524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64" name="任意多边形: 形状 163"/>
          <p:cNvSpPr/>
          <p:nvPr>
            <p:custDataLst>
              <p:tags r:id="rId14"/>
            </p:custDataLst>
          </p:nvPr>
        </p:nvSpPr>
        <p:spPr>
          <a:xfrm>
            <a:off x="6804303" y="3093856"/>
            <a:ext cx="289277" cy="390524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5" name="任意多边形: 形状 154"/>
          <p:cNvSpPr/>
          <p:nvPr>
            <p:custDataLst>
              <p:tags r:id="rId15"/>
            </p:custDataLst>
          </p:nvPr>
        </p:nvSpPr>
        <p:spPr>
          <a:xfrm>
            <a:off x="9313188" y="2355756"/>
            <a:ext cx="1128474" cy="362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3175">
            <a:solidFill>
              <a:schemeClr val="accent6"/>
            </a:solidFill>
            <a:prstDash val="dash"/>
            <a:miter lim="400000"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600"/>
            </a:pPr>
            <a:endParaRPr sz="18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6" name="椭圆 155"/>
          <p:cNvSpPr/>
          <p:nvPr>
            <p:custDataLst>
              <p:tags r:id="rId16"/>
            </p:custDataLst>
          </p:nvPr>
        </p:nvSpPr>
        <p:spPr bwMode="auto">
          <a:xfrm>
            <a:off x="8524363" y="2795349"/>
            <a:ext cx="987538" cy="987538"/>
          </a:xfrm>
          <a:prstGeom prst="ellipse">
            <a:avLst/>
          </a:prstGeom>
          <a:solidFill>
            <a:schemeClr val="lt1"/>
          </a:solidFill>
          <a:ln w="0">
            <a:noFill/>
            <a:prstDash val="solid"/>
            <a:round/>
          </a:ln>
          <a:effectLst>
            <a:outerShdw blurRad="63500" dist="38100" dir="8100000" algn="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7" name="椭圆 156"/>
          <p:cNvSpPr/>
          <p:nvPr>
            <p:custDataLst>
              <p:tags r:id="rId17"/>
            </p:custDataLst>
          </p:nvPr>
        </p:nvSpPr>
        <p:spPr bwMode="auto">
          <a:xfrm>
            <a:off x="10242950" y="2795349"/>
            <a:ext cx="987538" cy="987538"/>
          </a:xfrm>
          <a:prstGeom prst="ellipse">
            <a:avLst/>
          </a:prstGeom>
          <a:solidFill>
            <a:schemeClr val="lt1"/>
          </a:solidFill>
          <a:ln w="0">
            <a:noFill/>
            <a:prstDash val="solid"/>
            <a:round/>
          </a:ln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8" name="任意多边形: 形状 157"/>
          <p:cNvSpPr/>
          <p:nvPr>
            <p:custDataLst>
              <p:tags r:id="rId18"/>
            </p:custDataLst>
          </p:nvPr>
        </p:nvSpPr>
        <p:spPr>
          <a:xfrm>
            <a:off x="8822869" y="3111289"/>
            <a:ext cx="390524" cy="355656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9" name="任意多边形: 形状 158"/>
          <p:cNvSpPr/>
          <p:nvPr>
            <p:custDataLst>
              <p:tags r:id="rId19"/>
            </p:custDataLst>
          </p:nvPr>
        </p:nvSpPr>
        <p:spPr>
          <a:xfrm>
            <a:off x="10541456" y="3133630"/>
            <a:ext cx="390524" cy="31097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3" name="矩形 152"/>
          <p:cNvSpPr/>
          <p:nvPr>
            <p:custDataLst>
              <p:tags r:id="rId20"/>
            </p:custDataLst>
          </p:nvPr>
        </p:nvSpPr>
        <p:spPr bwMode="auto">
          <a:xfrm>
            <a:off x="710464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54" name="矩形 153"/>
          <p:cNvSpPr/>
          <p:nvPr>
            <p:custDataLst>
              <p:tags r:id="rId21"/>
            </p:custDataLst>
          </p:nvPr>
        </p:nvSpPr>
        <p:spPr bwMode="auto">
          <a:xfrm>
            <a:off x="2429051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51" name="矩形 150"/>
          <p:cNvSpPr/>
          <p:nvPr>
            <p:custDataLst>
              <p:tags r:id="rId22"/>
            </p:custDataLst>
          </p:nvPr>
        </p:nvSpPr>
        <p:spPr bwMode="auto">
          <a:xfrm>
            <a:off x="4498238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52" name="矩形 151"/>
          <p:cNvSpPr/>
          <p:nvPr>
            <p:custDataLst>
              <p:tags r:id="rId23"/>
            </p:custDataLst>
          </p:nvPr>
        </p:nvSpPr>
        <p:spPr bwMode="auto">
          <a:xfrm>
            <a:off x="6216825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9" name="矩形 148"/>
          <p:cNvSpPr/>
          <p:nvPr>
            <p:custDataLst>
              <p:tags r:id="rId24"/>
            </p:custDataLst>
          </p:nvPr>
        </p:nvSpPr>
        <p:spPr bwMode="auto">
          <a:xfrm>
            <a:off x="8286014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50" name="矩形 149"/>
          <p:cNvSpPr/>
          <p:nvPr>
            <p:custDataLst>
              <p:tags r:id="rId25"/>
            </p:custDataLst>
          </p:nvPr>
        </p:nvSpPr>
        <p:spPr bwMode="auto">
          <a:xfrm>
            <a:off x="10004601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cxnSp>
        <p:nvCxnSpPr>
          <p:cNvPr id="147" name="直接连接符 146"/>
          <p:cNvCxnSpPr/>
          <p:nvPr>
            <p:custDataLst>
              <p:tags r:id="rId26"/>
            </p:custDataLst>
          </p:nvPr>
        </p:nvCxnSpPr>
        <p:spPr>
          <a:xfrm>
            <a:off x="4195762" y="1358527"/>
            <a:ext cx="0" cy="4547347"/>
          </a:xfrm>
          <a:prstGeom prst="line">
            <a:avLst/>
          </a:prstGeom>
          <a:ln w="3175" cap="rnd">
            <a:solidFill>
              <a:schemeClr val="accen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直接连接符 147"/>
          <p:cNvCxnSpPr/>
          <p:nvPr>
            <p:custDataLst>
              <p:tags r:id="rId27"/>
            </p:custDataLst>
          </p:nvPr>
        </p:nvCxnSpPr>
        <p:spPr>
          <a:xfrm>
            <a:off x="7983536" y="1358527"/>
            <a:ext cx="0" cy="4547347"/>
          </a:xfrm>
          <a:prstGeom prst="line">
            <a:avLst/>
          </a:prstGeom>
          <a:ln w="3175" cap="rnd">
            <a:solidFill>
              <a:schemeClr val="accen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35" name="任意多边形: 形状 34"/>
          <p:cNvSpPr/>
          <p:nvPr>
            <p:custDataLst>
              <p:tags r:id="rId2"/>
            </p:custDataLst>
          </p:nvPr>
        </p:nvSpPr>
        <p:spPr bwMode="auto">
          <a:xfrm>
            <a:off x="3271489" y="1885215"/>
            <a:ext cx="3144886" cy="2090051"/>
          </a:xfrm>
          <a:custGeom>
            <a:avLst/>
            <a:gdLst>
              <a:gd name="T0" fmla="*/ 1443 w 1443"/>
              <a:gd name="T1" fmla="*/ 959 h 959"/>
              <a:gd name="T2" fmla="*/ 1397 w 1443"/>
              <a:gd name="T3" fmla="*/ 560 h 959"/>
              <a:gd name="T4" fmla="*/ 1300 w 1443"/>
              <a:gd name="T5" fmla="*/ 663 h 959"/>
              <a:gd name="T6" fmla="*/ 677 w 1443"/>
              <a:gd name="T7" fmla="*/ 0 h 959"/>
              <a:gd name="T8" fmla="*/ 0 w 1443"/>
              <a:gd name="T9" fmla="*/ 0 h 959"/>
              <a:gd name="T10" fmla="*/ 118 w 1443"/>
              <a:gd name="T11" fmla="*/ 99 h 959"/>
              <a:gd name="T12" fmla="*/ 4 w 1443"/>
              <a:gd name="T13" fmla="*/ 196 h 959"/>
              <a:gd name="T14" fmla="*/ 593 w 1443"/>
              <a:gd name="T15" fmla="*/ 196 h 959"/>
              <a:gd name="T16" fmla="*/ 1165 w 1443"/>
              <a:gd name="T17" fmla="*/ 804 h 959"/>
              <a:gd name="T18" fmla="*/ 1045 w 1443"/>
              <a:gd name="T19" fmla="*/ 930 h 959"/>
              <a:gd name="T20" fmla="*/ 1443 w 1443"/>
              <a:gd name="T21" fmla="*/ 959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43" h="959">
                <a:moveTo>
                  <a:pt x="1443" y="959"/>
                </a:moveTo>
                <a:lnTo>
                  <a:pt x="1397" y="560"/>
                </a:lnTo>
                <a:lnTo>
                  <a:pt x="1300" y="663"/>
                </a:lnTo>
                <a:lnTo>
                  <a:pt x="677" y="0"/>
                </a:lnTo>
                <a:lnTo>
                  <a:pt x="0" y="0"/>
                </a:lnTo>
                <a:lnTo>
                  <a:pt x="118" y="99"/>
                </a:lnTo>
                <a:lnTo>
                  <a:pt x="4" y="196"/>
                </a:lnTo>
                <a:lnTo>
                  <a:pt x="593" y="196"/>
                </a:lnTo>
                <a:lnTo>
                  <a:pt x="1165" y="804"/>
                </a:lnTo>
                <a:lnTo>
                  <a:pt x="1045" y="930"/>
                </a:lnTo>
                <a:lnTo>
                  <a:pt x="1443" y="9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/>
          <p:cNvSpPr/>
          <p:nvPr>
            <p:custDataLst>
              <p:tags r:id="rId3"/>
            </p:custDataLst>
          </p:nvPr>
        </p:nvSpPr>
        <p:spPr bwMode="auto">
          <a:xfrm>
            <a:off x="994008" y="1543050"/>
            <a:ext cx="2443116" cy="1826344"/>
          </a:xfrm>
          <a:custGeom>
            <a:avLst/>
            <a:gdLst>
              <a:gd name="T0" fmla="*/ 1121 w 1121"/>
              <a:gd name="T1" fmla="*/ 256 h 838"/>
              <a:gd name="T2" fmla="*/ 812 w 1121"/>
              <a:gd name="T3" fmla="*/ 0 h 838"/>
              <a:gd name="T4" fmla="*/ 812 w 1121"/>
              <a:gd name="T5" fmla="*/ 157 h 838"/>
              <a:gd name="T6" fmla="*/ 0 w 1121"/>
              <a:gd name="T7" fmla="*/ 157 h 838"/>
              <a:gd name="T8" fmla="*/ 0 w 1121"/>
              <a:gd name="T9" fmla="*/ 838 h 838"/>
              <a:gd name="T10" fmla="*/ 100 w 1121"/>
              <a:gd name="T11" fmla="*/ 715 h 838"/>
              <a:gd name="T12" fmla="*/ 195 w 1121"/>
              <a:gd name="T13" fmla="*/ 830 h 838"/>
              <a:gd name="T14" fmla="*/ 195 w 1121"/>
              <a:gd name="T15" fmla="*/ 353 h 838"/>
              <a:gd name="T16" fmla="*/ 812 w 1121"/>
              <a:gd name="T17" fmla="*/ 353 h 838"/>
              <a:gd name="T18" fmla="*/ 812 w 1121"/>
              <a:gd name="T19" fmla="*/ 512 h 838"/>
              <a:gd name="T20" fmla="*/ 1121 w 1121"/>
              <a:gd name="T21" fmla="*/ 256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21" h="838">
                <a:moveTo>
                  <a:pt x="1121" y="256"/>
                </a:moveTo>
                <a:lnTo>
                  <a:pt x="812" y="0"/>
                </a:lnTo>
                <a:lnTo>
                  <a:pt x="812" y="157"/>
                </a:lnTo>
                <a:lnTo>
                  <a:pt x="0" y="157"/>
                </a:lnTo>
                <a:lnTo>
                  <a:pt x="0" y="838"/>
                </a:lnTo>
                <a:lnTo>
                  <a:pt x="100" y="715"/>
                </a:lnTo>
                <a:lnTo>
                  <a:pt x="195" y="830"/>
                </a:lnTo>
                <a:lnTo>
                  <a:pt x="195" y="353"/>
                </a:lnTo>
                <a:lnTo>
                  <a:pt x="812" y="353"/>
                </a:lnTo>
                <a:lnTo>
                  <a:pt x="812" y="512"/>
                </a:lnTo>
                <a:lnTo>
                  <a:pt x="1121" y="25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" name="任意多边形: 形状 36"/>
          <p:cNvSpPr/>
          <p:nvPr>
            <p:custDataLst>
              <p:tags r:id="rId4"/>
            </p:custDataLst>
          </p:nvPr>
        </p:nvSpPr>
        <p:spPr bwMode="auto">
          <a:xfrm>
            <a:off x="656200" y="3197219"/>
            <a:ext cx="2277481" cy="2185945"/>
          </a:xfrm>
          <a:custGeom>
            <a:avLst/>
            <a:gdLst>
              <a:gd name="T0" fmla="*/ 1045 w 1045"/>
              <a:gd name="T1" fmla="*/ 808 h 1003"/>
              <a:gd name="T2" fmla="*/ 350 w 1045"/>
              <a:gd name="T3" fmla="*/ 808 h 1003"/>
              <a:gd name="T4" fmla="*/ 350 w 1045"/>
              <a:gd name="T5" fmla="*/ 308 h 1003"/>
              <a:gd name="T6" fmla="*/ 511 w 1045"/>
              <a:gd name="T7" fmla="*/ 308 h 1003"/>
              <a:gd name="T8" fmla="*/ 255 w 1045"/>
              <a:gd name="T9" fmla="*/ 0 h 1003"/>
              <a:gd name="T10" fmla="*/ 0 w 1045"/>
              <a:gd name="T11" fmla="*/ 308 h 1003"/>
              <a:gd name="T12" fmla="*/ 155 w 1045"/>
              <a:gd name="T13" fmla="*/ 308 h 1003"/>
              <a:gd name="T14" fmla="*/ 155 w 1045"/>
              <a:gd name="T15" fmla="*/ 1003 h 1003"/>
              <a:gd name="T16" fmla="*/ 253 w 1045"/>
              <a:gd name="T17" fmla="*/ 1003 h 1003"/>
              <a:gd name="T18" fmla="*/ 1039 w 1045"/>
              <a:gd name="T19" fmla="*/ 1003 h 1003"/>
              <a:gd name="T20" fmla="*/ 923 w 1045"/>
              <a:gd name="T21" fmla="*/ 908 h 1003"/>
              <a:gd name="T22" fmla="*/ 1045 w 1045"/>
              <a:gd name="T23" fmla="*/ 80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45" h="1003">
                <a:moveTo>
                  <a:pt x="1045" y="808"/>
                </a:moveTo>
                <a:lnTo>
                  <a:pt x="350" y="808"/>
                </a:lnTo>
                <a:lnTo>
                  <a:pt x="350" y="308"/>
                </a:lnTo>
                <a:lnTo>
                  <a:pt x="511" y="308"/>
                </a:lnTo>
                <a:lnTo>
                  <a:pt x="255" y="0"/>
                </a:lnTo>
                <a:lnTo>
                  <a:pt x="0" y="308"/>
                </a:lnTo>
                <a:lnTo>
                  <a:pt x="155" y="308"/>
                </a:lnTo>
                <a:lnTo>
                  <a:pt x="155" y="1003"/>
                </a:lnTo>
                <a:lnTo>
                  <a:pt x="253" y="1003"/>
                </a:lnTo>
                <a:lnTo>
                  <a:pt x="1039" y="1003"/>
                </a:lnTo>
                <a:lnTo>
                  <a:pt x="923" y="908"/>
                </a:lnTo>
                <a:lnTo>
                  <a:pt x="1045" y="80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8" name="任意多边形: 形状 37"/>
          <p:cNvSpPr/>
          <p:nvPr>
            <p:custDataLst>
              <p:tags r:id="rId5"/>
            </p:custDataLst>
          </p:nvPr>
        </p:nvSpPr>
        <p:spPr bwMode="auto">
          <a:xfrm>
            <a:off x="2763687" y="3970910"/>
            <a:ext cx="3275650" cy="1763140"/>
          </a:xfrm>
          <a:custGeom>
            <a:avLst/>
            <a:gdLst>
              <a:gd name="T0" fmla="*/ 1252 w 1503"/>
              <a:gd name="T1" fmla="*/ 0 h 809"/>
              <a:gd name="T2" fmla="*/ 826 w 1503"/>
              <a:gd name="T3" fmla="*/ 453 h 809"/>
              <a:gd name="T4" fmla="*/ 309 w 1503"/>
              <a:gd name="T5" fmla="*/ 453 h 809"/>
              <a:gd name="T6" fmla="*/ 309 w 1503"/>
              <a:gd name="T7" fmla="*/ 298 h 809"/>
              <a:gd name="T8" fmla="*/ 0 w 1503"/>
              <a:gd name="T9" fmla="*/ 553 h 809"/>
              <a:gd name="T10" fmla="*/ 309 w 1503"/>
              <a:gd name="T11" fmla="*/ 809 h 809"/>
              <a:gd name="T12" fmla="*/ 309 w 1503"/>
              <a:gd name="T13" fmla="*/ 648 h 809"/>
              <a:gd name="T14" fmla="*/ 868 w 1503"/>
              <a:gd name="T15" fmla="*/ 648 h 809"/>
              <a:gd name="T16" fmla="*/ 910 w 1503"/>
              <a:gd name="T17" fmla="*/ 648 h 809"/>
              <a:gd name="T18" fmla="*/ 1503 w 1503"/>
              <a:gd name="T19" fmla="*/ 18 h 809"/>
              <a:gd name="T20" fmla="*/ 1252 w 1503"/>
              <a:gd name="T21" fmla="*/ 0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03" h="809">
                <a:moveTo>
                  <a:pt x="1252" y="0"/>
                </a:moveTo>
                <a:lnTo>
                  <a:pt x="826" y="453"/>
                </a:lnTo>
                <a:lnTo>
                  <a:pt x="309" y="453"/>
                </a:lnTo>
                <a:lnTo>
                  <a:pt x="309" y="298"/>
                </a:lnTo>
                <a:lnTo>
                  <a:pt x="0" y="553"/>
                </a:lnTo>
                <a:lnTo>
                  <a:pt x="309" y="809"/>
                </a:lnTo>
                <a:lnTo>
                  <a:pt x="309" y="648"/>
                </a:lnTo>
                <a:lnTo>
                  <a:pt x="868" y="648"/>
                </a:lnTo>
                <a:lnTo>
                  <a:pt x="910" y="648"/>
                </a:lnTo>
                <a:lnTo>
                  <a:pt x="1503" y="18"/>
                </a:lnTo>
                <a:lnTo>
                  <a:pt x="125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9" name="任意多边形: 形状 38"/>
          <p:cNvSpPr/>
          <p:nvPr>
            <p:custDataLst>
              <p:tags r:id="rId6"/>
            </p:custDataLst>
          </p:nvPr>
        </p:nvSpPr>
        <p:spPr bwMode="auto">
          <a:xfrm>
            <a:off x="6368426" y="1885216"/>
            <a:ext cx="2530293" cy="1702116"/>
          </a:xfrm>
          <a:custGeom>
            <a:avLst/>
            <a:gdLst>
              <a:gd name="T0" fmla="*/ 578 w 1161"/>
              <a:gd name="T1" fmla="*/ 196 h 781"/>
              <a:gd name="T2" fmla="*/ 1155 w 1161"/>
              <a:gd name="T3" fmla="*/ 196 h 781"/>
              <a:gd name="T4" fmla="*/ 1041 w 1161"/>
              <a:gd name="T5" fmla="*/ 99 h 781"/>
              <a:gd name="T6" fmla="*/ 1161 w 1161"/>
              <a:gd name="T7" fmla="*/ 0 h 781"/>
              <a:gd name="T8" fmla="*/ 494 w 1161"/>
              <a:gd name="T9" fmla="*/ 0 h 781"/>
              <a:gd name="T10" fmla="*/ 0 w 1161"/>
              <a:gd name="T11" fmla="*/ 526 h 781"/>
              <a:gd name="T12" fmla="*/ 30 w 1161"/>
              <a:gd name="T13" fmla="*/ 781 h 781"/>
              <a:gd name="T14" fmla="*/ 578 w 1161"/>
              <a:gd name="T15" fmla="*/ 196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61" h="781">
                <a:moveTo>
                  <a:pt x="578" y="196"/>
                </a:moveTo>
                <a:lnTo>
                  <a:pt x="1155" y="196"/>
                </a:lnTo>
                <a:lnTo>
                  <a:pt x="1041" y="99"/>
                </a:lnTo>
                <a:lnTo>
                  <a:pt x="1161" y="0"/>
                </a:lnTo>
                <a:lnTo>
                  <a:pt x="494" y="0"/>
                </a:lnTo>
                <a:lnTo>
                  <a:pt x="0" y="526"/>
                </a:lnTo>
                <a:lnTo>
                  <a:pt x="30" y="781"/>
                </a:lnTo>
                <a:lnTo>
                  <a:pt x="578" y="1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0" name="任意多边形: 形状 39"/>
          <p:cNvSpPr/>
          <p:nvPr>
            <p:custDataLst>
              <p:tags r:id="rId7"/>
            </p:custDataLst>
          </p:nvPr>
        </p:nvSpPr>
        <p:spPr bwMode="auto">
          <a:xfrm>
            <a:off x="9232168" y="3197219"/>
            <a:ext cx="2303634" cy="2185945"/>
          </a:xfrm>
          <a:custGeom>
            <a:avLst/>
            <a:gdLst>
              <a:gd name="T0" fmla="*/ 1057 w 1057"/>
              <a:gd name="T1" fmla="*/ 308 h 1003"/>
              <a:gd name="T2" fmla="*/ 802 w 1057"/>
              <a:gd name="T3" fmla="*/ 0 h 1003"/>
              <a:gd name="T4" fmla="*/ 547 w 1057"/>
              <a:gd name="T5" fmla="*/ 308 h 1003"/>
              <a:gd name="T6" fmla="*/ 707 w 1057"/>
              <a:gd name="T7" fmla="*/ 308 h 1003"/>
              <a:gd name="T8" fmla="*/ 707 w 1057"/>
              <a:gd name="T9" fmla="*/ 808 h 1003"/>
              <a:gd name="T10" fmla="*/ 0 w 1057"/>
              <a:gd name="T11" fmla="*/ 808 h 1003"/>
              <a:gd name="T12" fmla="*/ 123 w 1057"/>
              <a:gd name="T13" fmla="*/ 908 h 1003"/>
              <a:gd name="T14" fmla="*/ 6 w 1057"/>
              <a:gd name="T15" fmla="*/ 1003 h 1003"/>
              <a:gd name="T16" fmla="*/ 902 w 1057"/>
              <a:gd name="T17" fmla="*/ 1003 h 1003"/>
              <a:gd name="T18" fmla="*/ 902 w 1057"/>
              <a:gd name="T19" fmla="*/ 308 h 1003"/>
              <a:gd name="T20" fmla="*/ 1057 w 1057"/>
              <a:gd name="T21" fmla="*/ 30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7" h="1003">
                <a:moveTo>
                  <a:pt x="1057" y="308"/>
                </a:moveTo>
                <a:lnTo>
                  <a:pt x="802" y="0"/>
                </a:lnTo>
                <a:lnTo>
                  <a:pt x="547" y="308"/>
                </a:lnTo>
                <a:lnTo>
                  <a:pt x="707" y="308"/>
                </a:lnTo>
                <a:lnTo>
                  <a:pt x="707" y="808"/>
                </a:lnTo>
                <a:lnTo>
                  <a:pt x="0" y="808"/>
                </a:lnTo>
                <a:lnTo>
                  <a:pt x="123" y="908"/>
                </a:lnTo>
                <a:lnTo>
                  <a:pt x="6" y="1003"/>
                </a:lnTo>
                <a:lnTo>
                  <a:pt x="902" y="1003"/>
                </a:lnTo>
                <a:lnTo>
                  <a:pt x="902" y="308"/>
                </a:lnTo>
                <a:lnTo>
                  <a:pt x="1057" y="30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1" name="任意多边形: 形状 40"/>
          <p:cNvSpPr/>
          <p:nvPr>
            <p:custDataLst>
              <p:tags r:id="rId8"/>
            </p:custDataLst>
          </p:nvPr>
        </p:nvSpPr>
        <p:spPr bwMode="auto">
          <a:xfrm>
            <a:off x="8728723" y="1543050"/>
            <a:ext cx="2469269" cy="1826344"/>
          </a:xfrm>
          <a:custGeom>
            <a:avLst/>
            <a:gdLst>
              <a:gd name="T0" fmla="*/ 1037 w 1133"/>
              <a:gd name="T1" fmla="*/ 157 h 838"/>
              <a:gd name="T2" fmla="*/ 1037 w 1133"/>
              <a:gd name="T3" fmla="*/ 157 h 838"/>
              <a:gd name="T4" fmla="*/ 309 w 1133"/>
              <a:gd name="T5" fmla="*/ 157 h 838"/>
              <a:gd name="T6" fmla="*/ 309 w 1133"/>
              <a:gd name="T7" fmla="*/ 0 h 838"/>
              <a:gd name="T8" fmla="*/ 0 w 1133"/>
              <a:gd name="T9" fmla="*/ 256 h 838"/>
              <a:gd name="T10" fmla="*/ 309 w 1133"/>
              <a:gd name="T11" fmla="*/ 512 h 838"/>
              <a:gd name="T12" fmla="*/ 309 w 1133"/>
              <a:gd name="T13" fmla="*/ 353 h 838"/>
              <a:gd name="T14" fmla="*/ 938 w 1133"/>
              <a:gd name="T15" fmla="*/ 353 h 838"/>
              <a:gd name="T16" fmla="*/ 938 w 1133"/>
              <a:gd name="T17" fmla="*/ 830 h 838"/>
              <a:gd name="T18" fmla="*/ 1033 w 1133"/>
              <a:gd name="T19" fmla="*/ 715 h 838"/>
              <a:gd name="T20" fmla="*/ 1133 w 1133"/>
              <a:gd name="T21" fmla="*/ 838 h 838"/>
              <a:gd name="T22" fmla="*/ 1133 w 1133"/>
              <a:gd name="T23" fmla="*/ 157 h 838"/>
              <a:gd name="T24" fmla="*/ 1037 w 1133"/>
              <a:gd name="T25" fmla="*/ 157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33" h="838">
                <a:moveTo>
                  <a:pt x="1037" y="157"/>
                </a:moveTo>
                <a:lnTo>
                  <a:pt x="1037" y="157"/>
                </a:lnTo>
                <a:lnTo>
                  <a:pt x="309" y="157"/>
                </a:lnTo>
                <a:lnTo>
                  <a:pt x="309" y="0"/>
                </a:lnTo>
                <a:lnTo>
                  <a:pt x="0" y="256"/>
                </a:lnTo>
                <a:lnTo>
                  <a:pt x="309" y="512"/>
                </a:lnTo>
                <a:lnTo>
                  <a:pt x="309" y="353"/>
                </a:lnTo>
                <a:lnTo>
                  <a:pt x="938" y="353"/>
                </a:lnTo>
                <a:lnTo>
                  <a:pt x="938" y="830"/>
                </a:lnTo>
                <a:lnTo>
                  <a:pt x="1033" y="715"/>
                </a:lnTo>
                <a:lnTo>
                  <a:pt x="1133" y="838"/>
                </a:lnTo>
                <a:lnTo>
                  <a:pt x="1133" y="157"/>
                </a:lnTo>
                <a:lnTo>
                  <a:pt x="1037" y="15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2" name="任意多边形: 形状 41"/>
          <p:cNvSpPr/>
          <p:nvPr>
            <p:custDataLst>
              <p:tags r:id="rId9"/>
            </p:custDataLst>
          </p:nvPr>
        </p:nvSpPr>
        <p:spPr bwMode="auto">
          <a:xfrm>
            <a:off x="6165741" y="3694124"/>
            <a:ext cx="3236421" cy="2039925"/>
          </a:xfrm>
          <a:custGeom>
            <a:avLst/>
            <a:gdLst>
              <a:gd name="T0" fmla="*/ 1485 w 1485"/>
              <a:gd name="T1" fmla="*/ 680 h 936"/>
              <a:gd name="T2" fmla="*/ 1176 w 1485"/>
              <a:gd name="T3" fmla="*/ 425 h 936"/>
              <a:gd name="T4" fmla="*/ 1176 w 1485"/>
              <a:gd name="T5" fmla="*/ 580 h 936"/>
              <a:gd name="T6" fmla="*/ 671 w 1485"/>
              <a:gd name="T7" fmla="*/ 580 h 936"/>
              <a:gd name="T8" fmla="*/ 129 w 1485"/>
              <a:gd name="T9" fmla="*/ 0 h 936"/>
              <a:gd name="T10" fmla="*/ 147 w 1485"/>
              <a:gd name="T11" fmla="*/ 159 h 936"/>
              <a:gd name="T12" fmla="*/ 0 w 1485"/>
              <a:gd name="T13" fmla="*/ 149 h 936"/>
              <a:gd name="T14" fmla="*/ 587 w 1485"/>
              <a:gd name="T15" fmla="*/ 775 h 936"/>
              <a:gd name="T16" fmla="*/ 1176 w 1485"/>
              <a:gd name="T17" fmla="*/ 775 h 936"/>
              <a:gd name="T18" fmla="*/ 1176 w 1485"/>
              <a:gd name="T19" fmla="*/ 936 h 936"/>
              <a:gd name="T20" fmla="*/ 1485 w 1485"/>
              <a:gd name="T21" fmla="*/ 680 h 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85" h="936">
                <a:moveTo>
                  <a:pt x="1485" y="680"/>
                </a:moveTo>
                <a:lnTo>
                  <a:pt x="1176" y="425"/>
                </a:lnTo>
                <a:lnTo>
                  <a:pt x="1176" y="580"/>
                </a:lnTo>
                <a:lnTo>
                  <a:pt x="671" y="580"/>
                </a:lnTo>
                <a:lnTo>
                  <a:pt x="129" y="0"/>
                </a:lnTo>
                <a:lnTo>
                  <a:pt x="147" y="159"/>
                </a:lnTo>
                <a:lnTo>
                  <a:pt x="0" y="149"/>
                </a:lnTo>
                <a:lnTo>
                  <a:pt x="587" y="775"/>
                </a:lnTo>
                <a:lnTo>
                  <a:pt x="1176" y="775"/>
                </a:lnTo>
                <a:lnTo>
                  <a:pt x="1176" y="936"/>
                </a:lnTo>
                <a:lnTo>
                  <a:pt x="1485" y="68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61" name="矩形 60"/>
          <p:cNvSpPr/>
          <p:nvPr>
            <p:custDataLst>
              <p:tags r:id="rId10"/>
            </p:custDataLst>
          </p:nvPr>
        </p:nvSpPr>
        <p:spPr bwMode="auto">
          <a:xfrm flipH="1">
            <a:off x="1993639" y="3498009"/>
            <a:ext cx="2928736" cy="702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62" name="文本框 61"/>
          <p:cNvSpPr txBox="1"/>
          <p:nvPr>
            <p:custDataLst>
              <p:tags r:id="rId11"/>
            </p:custDataLst>
          </p:nvPr>
        </p:nvSpPr>
        <p:spPr bwMode="auto">
          <a:xfrm flipH="1">
            <a:off x="1993639" y="3076294"/>
            <a:ext cx="2928736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57" name="矩形 56"/>
          <p:cNvSpPr/>
          <p:nvPr>
            <p:custDataLst>
              <p:tags r:id="rId12"/>
            </p:custDataLst>
          </p:nvPr>
        </p:nvSpPr>
        <p:spPr bwMode="auto">
          <a:xfrm flipH="1">
            <a:off x="7308123" y="3498008"/>
            <a:ext cx="2928736" cy="702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58" name="文本框 57"/>
          <p:cNvSpPr txBox="1"/>
          <p:nvPr>
            <p:custDataLst>
              <p:tags r:id="rId13"/>
            </p:custDataLst>
          </p:nvPr>
        </p:nvSpPr>
        <p:spPr bwMode="auto">
          <a:xfrm flipH="1">
            <a:off x="7308123" y="3076293"/>
            <a:ext cx="2928736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5" name="文本框 44"/>
          <p:cNvSpPr txBox="1"/>
          <p:nvPr>
            <p:custDataLst>
              <p:tags r:id="rId14"/>
            </p:custDataLst>
          </p:nvPr>
        </p:nvSpPr>
        <p:spPr bwMode="auto">
          <a:xfrm flipH="1">
            <a:off x="3458007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46" name="文本框 45"/>
          <p:cNvSpPr txBox="1"/>
          <p:nvPr>
            <p:custDataLst>
              <p:tags r:id="rId15"/>
            </p:custDataLst>
          </p:nvPr>
        </p:nvSpPr>
        <p:spPr bwMode="auto">
          <a:xfrm flipH="1">
            <a:off x="1552915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47" name="文本框 46"/>
          <p:cNvSpPr txBox="1"/>
          <p:nvPr>
            <p:custDataLst>
              <p:tags r:id="rId16"/>
            </p:custDataLst>
          </p:nvPr>
        </p:nvSpPr>
        <p:spPr bwMode="auto">
          <a:xfrm flipH="1">
            <a:off x="1552915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3</a:t>
            </a:r>
          </a:p>
        </p:txBody>
      </p:sp>
      <p:sp>
        <p:nvSpPr>
          <p:cNvPr id="48" name="文本框 47"/>
          <p:cNvSpPr txBox="1"/>
          <p:nvPr>
            <p:custDataLst>
              <p:tags r:id="rId17"/>
            </p:custDataLst>
          </p:nvPr>
        </p:nvSpPr>
        <p:spPr bwMode="auto">
          <a:xfrm flipH="1">
            <a:off x="3458007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4</a:t>
            </a:r>
          </a:p>
        </p:txBody>
      </p:sp>
      <p:sp>
        <p:nvSpPr>
          <p:cNvPr id="49" name="文本框 48"/>
          <p:cNvSpPr txBox="1"/>
          <p:nvPr>
            <p:custDataLst>
              <p:tags r:id="rId18"/>
            </p:custDataLst>
          </p:nvPr>
        </p:nvSpPr>
        <p:spPr bwMode="auto">
          <a:xfrm rot="2820000" flipH="1">
            <a:off x="4880419" y="2679725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5</a:t>
            </a:r>
          </a:p>
        </p:txBody>
      </p:sp>
      <p:sp>
        <p:nvSpPr>
          <p:cNvPr id="50" name="文本框 49"/>
          <p:cNvSpPr txBox="1"/>
          <p:nvPr>
            <p:custDataLst>
              <p:tags r:id="rId19"/>
            </p:custDataLst>
          </p:nvPr>
        </p:nvSpPr>
        <p:spPr bwMode="auto">
          <a:xfrm rot="2820000" flipH="1">
            <a:off x="6391932" y="4301835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6</a:t>
            </a:r>
          </a:p>
        </p:txBody>
      </p:sp>
      <p:sp>
        <p:nvSpPr>
          <p:cNvPr id="51" name="文本框 50"/>
          <p:cNvSpPr txBox="1"/>
          <p:nvPr>
            <p:custDataLst>
              <p:tags r:id="rId20"/>
            </p:custDataLst>
          </p:nvPr>
        </p:nvSpPr>
        <p:spPr bwMode="auto">
          <a:xfrm flipH="1">
            <a:off x="9585001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8</a:t>
            </a:r>
          </a:p>
        </p:txBody>
      </p:sp>
      <p:sp>
        <p:nvSpPr>
          <p:cNvPr id="52" name="文本框 51"/>
          <p:cNvSpPr txBox="1"/>
          <p:nvPr>
            <p:custDataLst>
              <p:tags r:id="rId21"/>
            </p:custDataLst>
          </p:nvPr>
        </p:nvSpPr>
        <p:spPr bwMode="auto">
          <a:xfrm flipH="1">
            <a:off x="7679909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7</a:t>
            </a:r>
          </a:p>
        </p:txBody>
      </p:sp>
      <p:sp>
        <p:nvSpPr>
          <p:cNvPr id="53" name="文本框 52"/>
          <p:cNvSpPr txBox="1"/>
          <p:nvPr>
            <p:custDataLst>
              <p:tags r:id="rId22"/>
            </p:custDataLst>
          </p:nvPr>
        </p:nvSpPr>
        <p:spPr bwMode="auto">
          <a:xfrm flipH="1">
            <a:off x="7679909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10</a:t>
            </a:r>
          </a:p>
        </p:txBody>
      </p:sp>
      <p:sp>
        <p:nvSpPr>
          <p:cNvPr id="54" name="文本框 53"/>
          <p:cNvSpPr txBox="1"/>
          <p:nvPr>
            <p:custDataLst>
              <p:tags r:id="rId23"/>
            </p:custDataLst>
          </p:nvPr>
        </p:nvSpPr>
        <p:spPr bwMode="auto">
          <a:xfrm flipH="1">
            <a:off x="9585001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09</a:t>
            </a:r>
          </a:p>
        </p:txBody>
      </p:sp>
    </p:spTree>
    <p:custDataLst>
      <p:tags r:id="rId1"/>
    </p:custData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201" name="矩形 200"/>
          <p:cNvSpPr/>
          <p:nvPr>
            <p:custDataLst>
              <p:tags r:id="rId2"/>
            </p:custDataLst>
          </p:nvPr>
        </p:nvSpPr>
        <p:spPr>
          <a:xfrm>
            <a:off x="1206093" y="4964046"/>
            <a:ext cx="2191192" cy="18939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02" name="矩形 201"/>
          <p:cNvSpPr/>
          <p:nvPr>
            <p:custDataLst>
              <p:tags r:id="rId3"/>
            </p:custDataLst>
          </p:nvPr>
        </p:nvSpPr>
        <p:spPr>
          <a:xfrm>
            <a:off x="3750667" y="3307600"/>
            <a:ext cx="2191192" cy="35503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03" name="矩形 202"/>
          <p:cNvSpPr/>
          <p:nvPr>
            <p:custDataLst>
              <p:tags r:id="rId4"/>
            </p:custDataLst>
          </p:nvPr>
        </p:nvSpPr>
        <p:spPr>
          <a:xfrm>
            <a:off x="6279643" y="4331764"/>
            <a:ext cx="2191192" cy="252623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04" name="矩形 203"/>
          <p:cNvSpPr/>
          <p:nvPr>
            <p:custDataLst>
              <p:tags r:id="rId5"/>
            </p:custDataLst>
          </p:nvPr>
        </p:nvSpPr>
        <p:spPr>
          <a:xfrm>
            <a:off x="8794715" y="3625441"/>
            <a:ext cx="2191192" cy="3232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36" name="泪滴形 235"/>
          <p:cNvSpPr/>
          <p:nvPr>
            <p:custDataLst>
              <p:tags r:id="rId6"/>
            </p:custDataLst>
          </p:nvPr>
        </p:nvSpPr>
        <p:spPr>
          <a:xfrm rot="8100000">
            <a:off x="2040726" y="3355393"/>
            <a:ext cx="521926" cy="521926"/>
          </a:xfrm>
          <a:prstGeom prst="teardrop">
            <a:avLst>
              <a:gd name="adj" fmla="val 10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A5A5A5"/>
              </a:solidFill>
              <a:cs typeface="+mn-ea"/>
              <a:sym typeface="+mn-lt"/>
            </a:endParaRPr>
          </a:p>
        </p:txBody>
      </p:sp>
      <p:cxnSp>
        <p:nvCxnSpPr>
          <p:cNvPr id="237" name="直接连接符 236"/>
          <p:cNvCxnSpPr>
            <a:stCxn id="236" idx="7"/>
          </p:cNvCxnSpPr>
          <p:nvPr>
            <p:custDataLst>
              <p:tags r:id="rId7"/>
            </p:custDataLst>
          </p:nvPr>
        </p:nvCxnSpPr>
        <p:spPr>
          <a:xfrm>
            <a:off x="2301689" y="3985413"/>
            <a:ext cx="0" cy="810597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任意多边形: 形状 237"/>
          <p:cNvSpPr/>
          <p:nvPr>
            <p:custDataLst>
              <p:tags r:id="rId8"/>
            </p:custDataLst>
          </p:nvPr>
        </p:nvSpPr>
        <p:spPr bwMode="auto">
          <a:xfrm>
            <a:off x="2157888" y="3530422"/>
            <a:ext cx="287602" cy="229016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33" name="泪滴形 232"/>
          <p:cNvSpPr/>
          <p:nvPr>
            <p:custDataLst>
              <p:tags r:id="rId9"/>
            </p:custDataLst>
          </p:nvPr>
        </p:nvSpPr>
        <p:spPr>
          <a:xfrm rot="8100000">
            <a:off x="4585300" y="1563523"/>
            <a:ext cx="521926" cy="521926"/>
          </a:xfrm>
          <a:prstGeom prst="teardrop">
            <a:avLst>
              <a:gd name="adj" fmla="val 10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A5A5A5"/>
              </a:solidFill>
              <a:cs typeface="+mn-ea"/>
              <a:sym typeface="+mn-lt"/>
            </a:endParaRPr>
          </a:p>
        </p:txBody>
      </p:sp>
      <p:cxnSp>
        <p:nvCxnSpPr>
          <p:cNvPr id="234" name="直接连接符 233"/>
          <p:cNvCxnSpPr>
            <a:stCxn id="233" idx="7"/>
          </p:cNvCxnSpPr>
          <p:nvPr>
            <p:custDataLst>
              <p:tags r:id="rId10"/>
            </p:custDataLst>
          </p:nvPr>
        </p:nvCxnSpPr>
        <p:spPr>
          <a:xfrm>
            <a:off x="4846263" y="2193543"/>
            <a:ext cx="0" cy="810597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任意多边形: 形状 234"/>
          <p:cNvSpPr/>
          <p:nvPr>
            <p:custDataLst>
              <p:tags r:id="rId11"/>
            </p:custDataLst>
          </p:nvPr>
        </p:nvSpPr>
        <p:spPr bwMode="auto">
          <a:xfrm>
            <a:off x="4702462" y="1733343"/>
            <a:ext cx="287602" cy="239433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30" name="泪滴形 229"/>
          <p:cNvSpPr/>
          <p:nvPr>
            <p:custDataLst>
              <p:tags r:id="rId12"/>
            </p:custDataLst>
          </p:nvPr>
        </p:nvSpPr>
        <p:spPr>
          <a:xfrm rot="8100000">
            <a:off x="7101862" y="2627901"/>
            <a:ext cx="521926" cy="521926"/>
          </a:xfrm>
          <a:prstGeom prst="teardrop">
            <a:avLst>
              <a:gd name="adj" fmla="val 100000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A5A5A5"/>
              </a:solidFill>
              <a:cs typeface="+mn-ea"/>
              <a:sym typeface="+mn-lt"/>
            </a:endParaRPr>
          </a:p>
        </p:txBody>
      </p:sp>
      <p:cxnSp>
        <p:nvCxnSpPr>
          <p:cNvPr id="231" name="直接连接符 230"/>
          <p:cNvCxnSpPr>
            <a:stCxn id="230" idx="7"/>
          </p:cNvCxnSpPr>
          <p:nvPr>
            <p:custDataLst>
              <p:tags r:id="rId13"/>
            </p:custDataLst>
          </p:nvPr>
        </p:nvCxnSpPr>
        <p:spPr>
          <a:xfrm>
            <a:off x="7362825" y="3257921"/>
            <a:ext cx="0" cy="810597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任意多边形: 形状 231"/>
          <p:cNvSpPr/>
          <p:nvPr>
            <p:custDataLst>
              <p:tags r:id="rId14"/>
            </p:custDataLst>
          </p:nvPr>
        </p:nvSpPr>
        <p:spPr bwMode="auto">
          <a:xfrm>
            <a:off x="7219024" y="2786477"/>
            <a:ext cx="287602" cy="261923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27" name="泪滴形 226"/>
          <p:cNvSpPr/>
          <p:nvPr>
            <p:custDataLst>
              <p:tags r:id="rId15"/>
            </p:custDataLst>
          </p:nvPr>
        </p:nvSpPr>
        <p:spPr>
          <a:xfrm rot="8100000">
            <a:off x="9629348" y="1892486"/>
            <a:ext cx="521926" cy="521926"/>
          </a:xfrm>
          <a:prstGeom prst="teardrop">
            <a:avLst>
              <a:gd name="adj" fmla="val 10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A5A5A5"/>
              </a:solidFill>
              <a:cs typeface="+mn-ea"/>
              <a:sym typeface="+mn-lt"/>
            </a:endParaRPr>
          </a:p>
        </p:txBody>
      </p:sp>
      <p:cxnSp>
        <p:nvCxnSpPr>
          <p:cNvPr id="228" name="直接连接符 227"/>
          <p:cNvCxnSpPr>
            <a:stCxn id="227" idx="7"/>
          </p:cNvCxnSpPr>
          <p:nvPr>
            <p:custDataLst>
              <p:tags r:id="rId16"/>
            </p:custDataLst>
          </p:nvPr>
        </p:nvCxnSpPr>
        <p:spPr>
          <a:xfrm>
            <a:off x="9890311" y="2522506"/>
            <a:ext cx="0" cy="810597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任意多边形: 形状 228"/>
          <p:cNvSpPr/>
          <p:nvPr>
            <p:custDataLst>
              <p:tags r:id="rId17"/>
            </p:custDataLst>
          </p:nvPr>
        </p:nvSpPr>
        <p:spPr bwMode="auto">
          <a:xfrm>
            <a:off x="9783791" y="2038223"/>
            <a:ext cx="213038" cy="287602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18" name="矩形 217"/>
          <p:cNvSpPr/>
          <p:nvPr>
            <p:custDataLst>
              <p:tags r:id="rId18"/>
            </p:custDataLst>
          </p:nvPr>
        </p:nvSpPr>
        <p:spPr bwMode="auto">
          <a:xfrm>
            <a:off x="1206093" y="5444374"/>
            <a:ext cx="2194332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19" name="文本框 218"/>
          <p:cNvSpPr txBox="1"/>
          <p:nvPr>
            <p:custDataLst>
              <p:tags r:id="rId19"/>
            </p:custDataLst>
          </p:nvPr>
        </p:nvSpPr>
        <p:spPr bwMode="auto">
          <a:xfrm>
            <a:off x="1206093" y="5002568"/>
            <a:ext cx="219433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rgbClr val="FFFFFF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220" name="矩形 219"/>
          <p:cNvSpPr/>
          <p:nvPr>
            <p:custDataLst>
              <p:tags r:id="rId20"/>
            </p:custDataLst>
          </p:nvPr>
        </p:nvSpPr>
        <p:spPr bwMode="auto">
          <a:xfrm>
            <a:off x="3749097" y="3771354"/>
            <a:ext cx="2194332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21" name="文本框 220"/>
          <p:cNvSpPr txBox="1"/>
          <p:nvPr>
            <p:custDataLst>
              <p:tags r:id="rId21"/>
            </p:custDataLst>
          </p:nvPr>
        </p:nvSpPr>
        <p:spPr bwMode="auto">
          <a:xfrm>
            <a:off x="3749097" y="3329548"/>
            <a:ext cx="219433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rgbClr val="FFFFFF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222" name="矩形 221"/>
          <p:cNvSpPr/>
          <p:nvPr>
            <p:custDataLst>
              <p:tags r:id="rId22"/>
            </p:custDataLst>
          </p:nvPr>
        </p:nvSpPr>
        <p:spPr bwMode="auto">
          <a:xfrm>
            <a:off x="3749097" y="4389816"/>
            <a:ext cx="2194332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23" name="矩形 222"/>
          <p:cNvSpPr/>
          <p:nvPr>
            <p:custDataLst>
              <p:tags r:id="rId23"/>
            </p:custDataLst>
          </p:nvPr>
        </p:nvSpPr>
        <p:spPr bwMode="auto">
          <a:xfrm>
            <a:off x="8782050" y="4082508"/>
            <a:ext cx="2194503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24" name="文本框 223"/>
          <p:cNvSpPr txBox="1"/>
          <p:nvPr>
            <p:custDataLst>
              <p:tags r:id="rId24"/>
            </p:custDataLst>
          </p:nvPr>
        </p:nvSpPr>
        <p:spPr bwMode="auto">
          <a:xfrm>
            <a:off x="8782050" y="3640702"/>
            <a:ext cx="219450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rgbClr val="FFFFFF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225" name="矩形 224"/>
          <p:cNvSpPr/>
          <p:nvPr>
            <p:custDataLst>
              <p:tags r:id="rId25"/>
            </p:custDataLst>
          </p:nvPr>
        </p:nvSpPr>
        <p:spPr bwMode="auto">
          <a:xfrm>
            <a:off x="6278073" y="4860409"/>
            <a:ext cx="2181918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26" name="文本框 225"/>
          <p:cNvSpPr txBox="1"/>
          <p:nvPr>
            <p:custDataLst>
              <p:tags r:id="rId26"/>
            </p:custDataLst>
          </p:nvPr>
        </p:nvSpPr>
        <p:spPr bwMode="auto">
          <a:xfrm>
            <a:off x="6278073" y="4418603"/>
            <a:ext cx="218191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rgbClr val="FFFFFF"/>
                </a:solidFill>
                <a:cs typeface="+mn-ea"/>
                <a:sym typeface="+mn-lt"/>
              </a:rPr>
              <a:t>Text here</a:t>
            </a:r>
          </a:p>
        </p:txBody>
      </p: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矩形 154"/>
          <p:cNvSpPr/>
          <p:nvPr/>
        </p:nvSpPr>
        <p:spPr>
          <a:xfrm>
            <a:off x="1133653" y="256991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r>
              <a:rPr lang="zh-CN" altLang="en-US" sz="3600" b="1" dirty="0">
                <a:solidFill>
                  <a:schemeClr val="tx2"/>
                </a:solidFill>
                <a:cs typeface="+mn-ea"/>
                <a:sym typeface="+mn-lt"/>
              </a:rPr>
              <a:t>Contents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463D7062-DEC7-BE77-F828-92692ADA5490}"/>
              </a:ext>
            </a:extLst>
          </p:cNvPr>
          <p:cNvGrpSpPr/>
          <p:nvPr/>
        </p:nvGrpSpPr>
        <p:grpSpPr>
          <a:xfrm>
            <a:off x="613227" y="1386450"/>
            <a:ext cx="5947265" cy="1112000"/>
            <a:chOff x="815746" y="1795310"/>
            <a:chExt cx="5947265" cy="1112000"/>
          </a:xfrm>
        </p:grpSpPr>
        <p:sp>
          <p:nvSpPr>
            <p:cNvPr id="2" name="任意多边形: 形状 158"/>
            <p:cNvSpPr/>
            <p:nvPr/>
          </p:nvSpPr>
          <p:spPr bwMode="auto">
            <a:xfrm>
              <a:off x="1093935" y="1795310"/>
              <a:ext cx="5544323" cy="1112000"/>
            </a:xfrm>
            <a:custGeom>
              <a:avLst/>
              <a:gdLst>
                <a:gd name="T0" fmla="*/ 1719 w 1843"/>
                <a:gd name="T1" fmla="*/ 85 h 487"/>
                <a:gd name="T2" fmla="*/ 247 w 1843"/>
                <a:gd name="T3" fmla="*/ 85 h 487"/>
                <a:gd name="T4" fmla="*/ 228 w 1843"/>
                <a:gd name="T5" fmla="*/ 86 h 487"/>
                <a:gd name="T6" fmla="*/ 228 w 1843"/>
                <a:gd name="T7" fmla="*/ 42 h 487"/>
                <a:gd name="T8" fmla="*/ 175 w 1843"/>
                <a:gd name="T9" fmla="*/ 22 h 487"/>
                <a:gd name="T10" fmla="*/ 9 w 1843"/>
                <a:gd name="T11" fmla="*/ 225 h 487"/>
                <a:gd name="T12" fmla="*/ 9 w 1843"/>
                <a:gd name="T13" fmla="*/ 263 h 487"/>
                <a:gd name="T14" fmla="*/ 175 w 1843"/>
                <a:gd name="T15" fmla="*/ 465 h 487"/>
                <a:gd name="T16" fmla="*/ 228 w 1843"/>
                <a:gd name="T17" fmla="*/ 446 h 487"/>
                <a:gd name="T18" fmla="*/ 228 w 1843"/>
                <a:gd name="T19" fmla="*/ 401 h 487"/>
                <a:gd name="T20" fmla="*/ 247 w 1843"/>
                <a:gd name="T21" fmla="*/ 403 h 487"/>
                <a:gd name="T22" fmla="*/ 1719 w 1843"/>
                <a:gd name="T23" fmla="*/ 403 h 487"/>
                <a:gd name="T24" fmla="*/ 1843 w 1843"/>
                <a:gd name="T25" fmla="*/ 279 h 487"/>
                <a:gd name="T26" fmla="*/ 1843 w 1843"/>
                <a:gd name="T27" fmla="*/ 209 h 487"/>
                <a:gd name="T28" fmla="*/ 1719 w 1843"/>
                <a:gd name="T29" fmla="*/ 8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3" h="487">
                  <a:moveTo>
                    <a:pt x="1719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93" y="487"/>
                    <a:pt x="228" y="475"/>
                    <a:pt x="228" y="446"/>
                  </a:cubicBezTo>
                  <a:cubicBezTo>
                    <a:pt x="228" y="401"/>
                    <a:pt x="228" y="401"/>
                    <a:pt x="228" y="401"/>
                  </a:cubicBezTo>
                  <a:cubicBezTo>
                    <a:pt x="234" y="402"/>
                    <a:pt x="241" y="403"/>
                    <a:pt x="247" y="403"/>
                  </a:cubicBezTo>
                  <a:cubicBezTo>
                    <a:pt x="1719" y="403"/>
                    <a:pt x="1719" y="403"/>
                    <a:pt x="1719" y="403"/>
                  </a:cubicBezTo>
                  <a:cubicBezTo>
                    <a:pt x="1787" y="403"/>
                    <a:pt x="1843" y="347"/>
                    <a:pt x="1843" y="279"/>
                  </a:cubicBezTo>
                  <a:cubicBezTo>
                    <a:pt x="1843" y="209"/>
                    <a:pt x="1843" y="209"/>
                    <a:pt x="1843" y="209"/>
                  </a:cubicBezTo>
                  <a:cubicBezTo>
                    <a:pt x="1843" y="140"/>
                    <a:pt x="1787" y="85"/>
                    <a:pt x="1719" y="85"/>
                  </a:cubicBezTo>
                  <a:close/>
                </a:path>
              </a:pathLst>
            </a:custGeom>
            <a:solidFill>
              <a:srgbClr val="FED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3" name="任意多边形: 形状 159"/>
            <p:cNvSpPr/>
            <p:nvPr/>
          </p:nvSpPr>
          <p:spPr bwMode="auto">
            <a:xfrm>
              <a:off x="815746" y="1813192"/>
              <a:ext cx="1459184" cy="1078038"/>
            </a:xfrm>
            <a:custGeom>
              <a:avLst/>
              <a:gdLst>
                <a:gd name="T0" fmla="*/ 485 w 485"/>
                <a:gd name="T1" fmla="*/ 85 h 472"/>
                <a:gd name="T2" fmla="*/ 247 w 485"/>
                <a:gd name="T3" fmla="*/ 85 h 472"/>
                <a:gd name="T4" fmla="*/ 228 w 485"/>
                <a:gd name="T5" fmla="*/ 86 h 472"/>
                <a:gd name="T6" fmla="*/ 228 w 485"/>
                <a:gd name="T7" fmla="*/ 42 h 472"/>
                <a:gd name="T8" fmla="*/ 175 w 485"/>
                <a:gd name="T9" fmla="*/ 22 h 472"/>
                <a:gd name="T10" fmla="*/ 9 w 485"/>
                <a:gd name="T11" fmla="*/ 225 h 472"/>
                <a:gd name="T12" fmla="*/ 9 w 485"/>
                <a:gd name="T13" fmla="*/ 263 h 472"/>
                <a:gd name="T14" fmla="*/ 175 w 485"/>
                <a:gd name="T15" fmla="*/ 465 h 472"/>
                <a:gd name="T16" fmla="*/ 182 w 485"/>
                <a:gd name="T17" fmla="*/ 472 h 472"/>
                <a:gd name="T18" fmla="*/ 485 w 485"/>
                <a:gd name="T19" fmla="*/ 8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5" h="472">
                  <a:moveTo>
                    <a:pt x="485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77" y="468"/>
                    <a:pt x="179" y="470"/>
                    <a:pt x="182" y="472"/>
                  </a:cubicBezTo>
                  <a:cubicBezTo>
                    <a:pt x="221" y="334"/>
                    <a:pt x="304" y="173"/>
                    <a:pt x="485" y="8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76200" dist="38100" algn="l" rotWithShape="0">
                <a:schemeClr val="tx2">
                  <a:alpha val="50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2138228" y="2117345"/>
              <a:ext cx="4624783" cy="433570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Research Background and Significance</a:t>
              </a:r>
            </a:p>
          </p:txBody>
        </p:sp>
        <p:sp>
          <p:nvSpPr>
            <p:cNvPr id="13" name="任意多边形: 形状 162"/>
            <p:cNvSpPr>
              <a:spLocks noChangeAspect="1"/>
            </p:cNvSpPr>
            <p:nvPr/>
          </p:nvSpPr>
          <p:spPr bwMode="auto">
            <a:xfrm>
              <a:off x="1846210" y="2262496"/>
              <a:ext cx="273406" cy="232954"/>
            </a:xfrm>
            <a:custGeom>
              <a:avLst/>
              <a:gdLst>
                <a:gd name="connsiteX0" fmla="*/ 351345 w 606227"/>
                <a:gd name="connsiteY0" fmla="*/ 426074 h 533192"/>
                <a:gd name="connsiteX1" fmla="*/ 407490 w 606227"/>
                <a:gd name="connsiteY1" fmla="*/ 426074 h 533192"/>
                <a:gd name="connsiteX2" fmla="*/ 446467 w 606227"/>
                <a:gd name="connsiteY2" fmla="*/ 533192 h 533192"/>
                <a:gd name="connsiteX3" fmla="*/ 390229 w 606227"/>
                <a:gd name="connsiteY3" fmla="*/ 533192 h 533192"/>
                <a:gd name="connsiteX4" fmla="*/ 198757 w 606227"/>
                <a:gd name="connsiteY4" fmla="*/ 426074 h 533192"/>
                <a:gd name="connsiteX5" fmla="*/ 255023 w 606227"/>
                <a:gd name="connsiteY5" fmla="*/ 426074 h 533192"/>
                <a:gd name="connsiteX6" fmla="*/ 216119 w 606227"/>
                <a:gd name="connsiteY6" fmla="*/ 533192 h 533192"/>
                <a:gd name="connsiteX7" fmla="*/ 159760 w 606227"/>
                <a:gd name="connsiteY7" fmla="*/ 533192 h 533192"/>
                <a:gd name="connsiteX8" fmla="*/ 304170 w 606227"/>
                <a:gd name="connsiteY8" fmla="*/ 146113 h 533192"/>
                <a:gd name="connsiteX9" fmla="*/ 292193 w 606227"/>
                <a:gd name="connsiteY9" fmla="*/ 158070 h 533192"/>
                <a:gd name="connsiteX10" fmla="*/ 292193 w 606227"/>
                <a:gd name="connsiteY10" fmla="*/ 298304 h 533192"/>
                <a:gd name="connsiteX11" fmla="*/ 248833 w 606227"/>
                <a:gd name="connsiteY11" fmla="*/ 298304 h 533192"/>
                <a:gd name="connsiteX12" fmla="*/ 248833 w 606227"/>
                <a:gd name="connsiteY12" fmla="*/ 220448 h 533192"/>
                <a:gd name="connsiteX13" fmla="*/ 236856 w 606227"/>
                <a:gd name="connsiteY13" fmla="*/ 208491 h 533192"/>
                <a:gd name="connsiteX14" fmla="*/ 224786 w 606227"/>
                <a:gd name="connsiteY14" fmla="*/ 220448 h 533192"/>
                <a:gd name="connsiteX15" fmla="*/ 224786 w 606227"/>
                <a:gd name="connsiteY15" fmla="*/ 297841 h 533192"/>
                <a:gd name="connsiteX16" fmla="*/ 190153 w 606227"/>
                <a:gd name="connsiteY16" fmla="*/ 297841 h 533192"/>
                <a:gd name="connsiteX17" fmla="*/ 178176 w 606227"/>
                <a:gd name="connsiteY17" fmla="*/ 309797 h 533192"/>
                <a:gd name="connsiteX18" fmla="*/ 190153 w 606227"/>
                <a:gd name="connsiteY18" fmla="*/ 321846 h 533192"/>
                <a:gd name="connsiteX19" fmla="*/ 418187 w 606227"/>
                <a:gd name="connsiteY19" fmla="*/ 321846 h 533192"/>
                <a:gd name="connsiteX20" fmla="*/ 430165 w 606227"/>
                <a:gd name="connsiteY20" fmla="*/ 309797 h 533192"/>
                <a:gd name="connsiteX21" fmla="*/ 418187 w 606227"/>
                <a:gd name="connsiteY21" fmla="*/ 297841 h 533192"/>
                <a:gd name="connsiteX22" fmla="*/ 383555 w 606227"/>
                <a:gd name="connsiteY22" fmla="*/ 297841 h 533192"/>
                <a:gd name="connsiteX23" fmla="*/ 383555 w 606227"/>
                <a:gd name="connsiteY23" fmla="*/ 186339 h 533192"/>
                <a:gd name="connsiteX24" fmla="*/ 371485 w 606227"/>
                <a:gd name="connsiteY24" fmla="*/ 174382 h 533192"/>
                <a:gd name="connsiteX25" fmla="*/ 359508 w 606227"/>
                <a:gd name="connsiteY25" fmla="*/ 186339 h 533192"/>
                <a:gd name="connsiteX26" fmla="*/ 359508 w 606227"/>
                <a:gd name="connsiteY26" fmla="*/ 297841 h 533192"/>
                <a:gd name="connsiteX27" fmla="*/ 316148 w 606227"/>
                <a:gd name="connsiteY27" fmla="*/ 297841 h 533192"/>
                <a:gd name="connsiteX28" fmla="*/ 316148 w 606227"/>
                <a:gd name="connsiteY28" fmla="*/ 158070 h 533192"/>
                <a:gd name="connsiteX29" fmla="*/ 304170 w 606227"/>
                <a:gd name="connsiteY29" fmla="*/ 146113 h 533192"/>
                <a:gd name="connsiteX30" fmla="*/ 47632 w 606227"/>
                <a:gd name="connsiteY30" fmla="*/ 64920 h 533192"/>
                <a:gd name="connsiteX31" fmla="*/ 558666 w 606227"/>
                <a:gd name="connsiteY31" fmla="*/ 64920 h 533192"/>
                <a:gd name="connsiteX32" fmla="*/ 558666 w 606227"/>
                <a:gd name="connsiteY32" fmla="*/ 335749 h 533192"/>
                <a:gd name="connsiteX33" fmla="*/ 498036 w 606227"/>
                <a:gd name="connsiteY33" fmla="*/ 396366 h 533192"/>
                <a:gd name="connsiteX34" fmla="*/ 108354 w 606227"/>
                <a:gd name="connsiteY34" fmla="*/ 396366 h 533192"/>
                <a:gd name="connsiteX35" fmla="*/ 47632 w 606227"/>
                <a:gd name="connsiteY35" fmla="*/ 335749 h 533192"/>
                <a:gd name="connsiteX36" fmla="*/ 0 w 606227"/>
                <a:gd name="connsiteY36" fmla="*/ 0 h 533192"/>
                <a:gd name="connsiteX37" fmla="*/ 606227 w 606227"/>
                <a:gd name="connsiteY37" fmla="*/ 0 h 533192"/>
                <a:gd name="connsiteX38" fmla="*/ 606227 w 606227"/>
                <a:gd name="connsiteY38" fmla="*/ 35565 h 533192"/>
                <a:gd name="connsiteX39" fmla="*/ 0 w 606227"/>
                <a:gd name="connsiteY39" fmla="*/ 35565 h 53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6227" h="533192">
                  <a:moveTo>
                    <a:pt x="351345" y="426074"/>
                  </a:moveTo>
                  <a:lnTo>
                    <a:pt x="407490" y="426074"/>
                  </a:lnTo>
                  <a:lnTo>
                    <a:pt x="446467" y="533192"/>
                  </a:lnTo>
                  <a:lnTo>
                    <a:pt x="390229" y="533192"/>
                  </a:lnTo>
                  <a:close/>
                  <a:moveTo>
                    <a:pt x="198757" y="426074"/>
                  </a:moveTo>
                  <a:lnTo>
                    <a:pt x="255023" y="426074"/>
                  </a:lnTo>
                  <a:lnTo>
                    <a:pt x="216119" y="533192"/>
                  </a:lnTo>
                  <a:lnTo>
                    <a:pt x="159760" y="533192"/>
                  </a:lnTo>
                  <a:close/>
                  <a:moveTo>
                    <a:pt x="304170" y="146113"/>
                  </a:moveTo>
                  <a:cubicBezTo>
                    <a:pt x="297485" y="146113"/>
                    <a:pt x="292193" y="151396"/>
                    <a:pt x="292193" y="158070"/>
                  </a:cubicBezTo>
                  <a:lnTo>
                    <a:pt x="292193" y="298304"/>
                  </a:lnTo>
                  <a:lnTo>
                    <a:pt x="248833" y="298304"/>
                  </a:lnTo>
                  <a:lnTo>
                    <a:pt x="248833" y="220448"/>
                  </a:lnTo>
                  <a:cubicBezTo>
                    <a:pt x="248833" y="213774"/>
                    <a:pt x="243541" y="208491"/>
                    <a:pt x="236856" y="208491"/>
                  </a:cubicBezTo>
                  <a:cubicBezTo>
                    <a:pt x="230171" y="208491"/>
                    <a:pt x="224786" y="213774"/>
                    <a:pt x="224786" y="220448"/>
                  </a:cubicBezTo>
                  <a:lnTo>
                    <a:pt x="224786" y="297841"/>
                  </a:lnTo>
                  <a:lnTo>
                    <a:pt x="190153" y="297841"/>
                  </a:lnTo>
                  <a:cubicBezTo>
                    <a:pt x="183375" y="297841"/>
                    <a:pt x="177990" y="303031"/>
                    <a:pt x="178176" y="309797"/>
                  </a:cubicBezTo>
                  <a:cubicBezTo>
                    <a:pt x="178176" y="316470"/>
                    <a:pt x="183468" y="321846"/>
                    <a:pt x="190153" y="321846"/>
                  </a:cubicBezTo>
                  <a:lnTo>
                    <a:pt x="418187" y="321846"/>
                  </a:lnTo>
                  <a:cubicBezTo>
                    <a:pt x="424872" y="321846"/>
                    <a:pt x="430165" y="316470"/>
                    <a:pt x="430165" y="309797"/>
                  </a:cubicBezTo>
                  <a:cubicBezTo>
                    <a:pt x="430165" y="303124"/>
                    <a:pt x="424872" y="297841"/>
                    <a:pt x="418187" y="297841"/>
                  </a:cubicBezTo>
                  <a:lnTo>
                    <a:pt x="383555" y="297841"/>
                  </a:lnTo>
                  <a:lnTo>
                    <a:pt x="383555" y="186339"/>
                  </a:lnTo>
                  <a:cubicBezTo>
                    <a:pt x="383555" y="179666"/>
                    <a:pt x="378170" y="174382"/>
                    <a:pt x="371485" y="174382"/>
                  </a:cubicBezTo>
                  <a:cubicBezTo>
                    <a:pt x="364800" y="174382"/>
                    <a:pt x="359508" y="179666"/>
                    <a:pt x="359508" y="186339"/>
                  </a:cubicBezTo>
                  <a:lnTo>
                    <a:pt x="359508" y="297841"/>
                  </a:lnTo>
                  <a:lnTo>
                    <a:pt x="316148" y="297841"/>
                  </a:lnTo>
                  <a:lnTo>
                    <a:pt x="316148" y="158070"/>
                  </a:lnTo>
                  <a:cubicBezTo>
                    <a:pt x="316148" y="151396"/>
                    <a:pt x="310855" y="146113"/>
                    <a:pt x="304170" y="146113"/>
                  </a:cubicBezTo>
                  <a:close/>
                  <a:moveTo>
                    <a:pt x="47632" y="64920"/>
                  </a:moveTo>
                  <a:lnTo>
                    <a:pt x="558666" y="64920"/>
                  </a:lnTo>
                  <a:lnTo>
                    <a:pt x="558666" y="335749"/>
                  </a:lnTo>
                  <a:cubicBezTo>
                    <a:pt x="558666" y="369394"/>
                    <a:pt x="531740" y="396366"/>
                    <a:pt x="498036" y="396366"/>
                  </a:cubicBezTo>
                  <a:lnTo>
                    <a:pt x="108354" y="396366"/>
                  </a:lnTo>
                  <a:cubicBezTo>
                    <a:pt x="74651" y="396366"/>
                    <a:pt x="47632" y="369394"/>
                    <a:pt x="47632" y="335749"/>
                  </a:cubicBezTo>
                  <a:close/>
                  <a:moveTo>
                    <a:pt x="0" y="0"/>
                  </a:moveTo>
                  <a:lnTo>
                    <a:pt x="606227" y="0"/>
                  </a:lnTo>
                  <a:lnTo>
                    <a:pt x="606227" y="35565"/>
                  </a:lnTo>
                  <a:lnTo>
                    <a:pt x="0" y="355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086634" y="2098258"/>
              <a:ext cx="790364" cy="235982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2"/>
                  </a:solidFill>
                  <a:cs typeface="+mn-ea"/>
                  <a:sym typeface="+mn-lt"/>
                </a:rPr>
                <a:t>01</a:t>
              </a:r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F82305D4-1908-A8BD-2112-D2719DFD1A9A}"/>
              </a:ext>
            </a:extLst>
          </p:cNvPr>
          <p:cNvGrpSpPr/>
          <p:nvPr/>
        </p:nvGrpSpPr>
        <p:grpSpPr>
          <a:xfrm>
            <a:off x="6000414" y="2391754"/>
            <a:ext cx="5947265" cy="1112000"/>
            <a:chOff x="815746" y="1795310"/>
            <a:chExt cx="5947265" cy="1112000"/>
          </a:xfrm>
        </p:grpSpPr>
        <p:sp>
          <p:nvSpPr>
            <p:cNvPr id="18" name="任意多边形: 形状 158">
              <a:extLst>
                <a:ext uri="{FF2B5EF4-FFF2-40B4-BE49-F238E27FC236}">
                  <a16:creationId xmlns:a16="http://schemas.microsoft.com/office/drawing/2014/main" id="{83B6C755-37E1-BD93-98F1-9B01D50B4EBE}"/>
                </a:ext>
              </a:extLst>
            </p:cNvPr>
            <p:cNvSpPr/>
            <p:nvPr/>
          </p:nvSpPr>
          <p:spPr bwMode="auto">
            <a:xfrm>
              <a:off x="1093935" y="1795310"/>
              <a:ext cx="5544323" cy="1112000"/>
            </a:xfrm>
            <a:custGeom>
              <a:avLst/>
              <a:gdLst>
                <a:gd name="T0" fmla="*/ 1719 w 1843"/>
                <a:gd name="T1" fmla="*/ 85 h 487"/>
                <a:gd name="T2" fmla="*/ 247 w 1843"/>
                <a:gd name="T3" fmla="*/ 85 h 487"/>
                <a:gd name="T4" fmla="*/ 228 w 1843"/>
                <a:gd name="T5" fmla="*/ 86 h 487"/>
                <a:gd name="T6" fmla="*/ 228 w 1843"/>
                <a:gd name="T7" fmla="*/ 42 h 487"/>
                <a:gd name="T8" fmla="*/ 175 w 1843"/>
                <a:gd name="T9" fmla="*/ 22 h 487"/>
                <a:gd name="T10" fmla="*/ 9 w 1843"/>
                <a:gd name="T11" fmla="*/ 225 h 487"/>
                <a:gd name="T12" fmla="*/ 9 w 1843"/>
                <a:gd name="T13" fmla="*/ 263 h 487"/>
                <a:gd name="T14" fmla="*/ 175 w 1843"/>
                <a:gd name="T15" fmla="*/ 465 h 487"/>
                <a:gd name="T16" fmla="*/ 228 w 1843"/>
                <a:gd name="T17" fmla="*/ 446 h 487"/>
                <a:gd name="T18" fmla="*/ 228 w 1843"/>
                <a:gd name="T19" fmla="*/ 401 h 487"/>
                <a:gd name="T20" fmla="*/ 247 w 1843"/>
                <a:gd name="T21" fmla="*/ 403 h 487"/>
                <a:gd name="T22" fmla="*/ 1719 w 1843"/>
                <a:gd name="T23" fmla="*/ 403 h 487"/>
                <a:gd name="T24" fmla="*/ 1843 w 1843"/>
                <a:gd name="T25" fmla="*/ 279 h 487"/>
                <a:gd name="T26" fmla="*/ 1843 w 1843"/>
                <a:gd name="T27" fmla="*/ 209 h 487"/>
                <a:gd name="T28" fmla="*/ 1719 w 1843"/>
                <a:gd name="T29" fmla="*/ 8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3" h="487">
                  <a:moveTo>
                    <a:pt x="1719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93" y="487"/>
                    <a:pt x="228" y="475"/>
                    <a:pt x="228" y="446"/>
                  </a:cubicBezTo>
                  <a:cubicBezTo>
                    <a:pt x="228" y="401"/>
                    <a:pt x="228" y="401"/>
                    <a:pt x="228" y="401"/>
                  </a:cubicBezTo>
                  <a:cubicBezTo>
                    <a:pt x="234" y="402"/>
                    <a:pt x="241" y="403"/>
                    <a:pt x="247" y="403"/>
                  </a:cubicBezTo>
                  <a:cubicBezTo>
                    <a:pt x="1719" y="403"/>
                    <a:pt x="1719" y="403"/>
                    <a:pt x="1719" y="403"/>
                  </a:cubicBezTo>
                  <a:cubicBezTo>
                    <a:pt x="1787" y="403"/>
                    <a:pt x="1843" y="347"/>
                    <a:pt x="1843" y="279"/>
                  </a:cubicBezTo>
                  <a:cubicBezTo>
                    <a:pt x="1843" y="209"/>
                    <a:pt x="1843" y="209"/>
                    <a:pt x="1843" y="209"/>
                  </a:cubicBezTo>
                  <a:cubicBezTo>
                    <a:pt x="1843" y="140"/>
                    <a:pt x="1787" y="85"/>
                    <a:pt x="1719" y="85"/>
                  </a:cubicBezTo>
                  <a:close/>
                </a:path>
              </a:pathLst>
            </a:custGeom>
            <a:solidFill>
              <a:srgbClr val="FED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24" name="任意多边形: 形状 159">
              <a:extLst>
                <a:ext uri="{FF2B5EF4-FFF2-40B4-BE49-F238E27FC236}">
                  <a16:creationId xmlns:a16="http://schemas.microsoft.com/office/drawing/2014/main" id="{AB79C446-33C6-020F-6E20-63210E9F4F77}"/>
                </a:ext>
              </a:extLst>
            </p:cNvPr>
            <p:cNvSpPr/>
            <p:nvPr/>
          </p:nvSpPr>
          <p:spPr bwMode="auto">
            <a:xfrm>
              <a:off x="815746" y="1813192"/>
              <a:ext cx="1459184" cy="1078038"/>
            </a:xfrm>
            <a:custGeom>
              <a:avLst/>
              <a:gdLst>
                <a:gd name="T0" fmla="*/ 485 w 485"/>
                <a:gd name="T1" fmla="*/ 85 h 472"/>
                <a:gd name="T2" fmla="*/ 247 w 485"/>
                <a:gd name="T3" fmla="*/ 85 h 472"/>
                <a:gd name="T4" fmla="*/ 228 w 485"/>
                <a:gd name="T5" fmla="*/ 86 h 472"/>
                <a:gd name="T6" fmla="*/ 228 w 485"/>
                <a:gd name="T7" fmla="*/ 42 h 472"/>
                <a:gd name="T8" fmla="*/ 175 w 485"/>
                <a:gd name="T9" fmla="*/ 22 h 472"/>
                <a:gd name="T10" fmla="*/ 9 w 485"/>
                <a:gd name="T11" fmla="*/ 225 h 472"/>
                <a:gd name="T12" fmla="*/ 9 w 485"/>
                <a:gd name="T13" fmla="*/ 263 h 472"/>
                <a:gd name="T14" fmla="*/ 175 w 485"/>
                <a:gd name="T15" fmla="*/ 465 h 472"/>
                <a:gd name="T16" fmla="*/ 182 w 485"/>
                <a:gd name="T17" fmla="*/ 472 h 472"/>
                <a:gd name="T18" fmla="*/ 485 w 485"/>
                <a:gd name="T19" fmla="*/ 8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5" h="472">
                  <a:moveTo>
                    <a:pt x="485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77" y="468"/>
                    <a:pt x="179" y="470"/>
                    <a:pt x="182" y="472"/>
                  </a:cubicBezTo>
                  <a:cubicBezTo>
                    <a:pt x="221" y="334"/>
                    <a:pt x="304" y="173"/>
                    <a:pt x="485" y="8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76200" dist="38100" algn="l" rotWithShape="0">
                <a:schemeClr val="tx2">
                  <a:alpha val="50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275C0ABE-3B5A-84E3-2A13-DE5134A142EA}"/>
                </a:ext>
              </a:extLst>
            </p:cNvPr>
            <p:cNvSpPr/>
            <p:nvPr/>
          </p:nvSpPr>
          <p:spPr>
            <a:xfrm>
              <a:off x="2138228" y="2117345"/>
              <a:ext cx="4624783" cy="433570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Research Questions and Objectives</a:t>
              </a:r>
            </a:p>
          </p:txBody>
        </p:sp>
        <p:sp>
          <p:nvSpPr>
            <p:cNvPr id="36" name="任意多边形: 形状 162">
              <a:extLst>
                <a:ext uri="{FF2B5EF4-FFF2-40B4-BE49-F238E27FC236}">
                  <a16:creationId xmlns:a16="http://schemas.microsoft.com/office/drawing/2014/main" id="{2D57F828-6208-153A-7146-BF418D2116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46210" y="2262496"/>
              <a:ext cx="273406" cy="232954"/>
            </a:xfrm>
            <a:custGeom>
              <a:avLst/>
              <a:gdLst>
                <a:gd name="connsiteX0" fmla="*/ 351345 w 606227"/>
                <a:gd name="connsiteY0" fmla="*/ 426074 h 533192"/>
                <a:gd name="connsiteX1" fmla="*/ 407490 w 606227"/>
                <a:gd name="connsiteY1" fmla="*/ 426074 h 533192"/>
                <a:gd name="connsiteX2" fmla="*/ 446467 w 606227"/>
                <a:gd name="connsiteY2" fmla="*/ 533192 h 533192"/>
                <a:gd name="connsiteX3" fmla="*/ 390229 w 606227"/>
                <a:gd name="connsiteY3" fmla="*/ 533192 h 533192"/>
                <a:gd name="connsiteX4" fmla="*/ 198757 w 606227"/>
                <a:gd name="connsiteY4" fmla="*/ 426074 h 533192"/>
                <a:gd name="connsiteX5" fmla="*/ 255023 w 606227"/>
                <a:gd name="connsiteY5" fmla="*/ 426074 h 533192"/>
                <a:gd name="connsiteX6" fmla="*/ 216119 w 606227"/>
                <a:gd name="connsiteY6" fmla="*/ 533192 h 533192"/>
                <a:gd name="connsiteX7" fmla="*/ 159760 w 606227"/>
                <a:gd name="connsiteY7" fmla="*/ 533192 h 533192"/>
                <a:gd name="connsiteX8" fmla="*/ 304170 w 606227"/>
                <a:gd name="connsiteY8" fmla="*/ 146113 h 533192"/>
                <a:gd name="connsiteX9" fmla="*/ 292193 w 606227"/>
                <a:gd name="connsiteY9" fmla="*/ 158070 h 533192"/>
                <a:gd name="connsiteX10" fmla="*/ 292193 w 606227"/>
                <a:gd name="connsiteY10" fmla="*/ 298304 h 533192"/>
                <a:gd name="connsiteX11" fmla="*/ 248833 w 606227"/>
                <a:gd name="connsiteY11" fmla="*/ 298304 h 533192"/>
                <a:gd name="connsiteX12" fmla="*/ 248833 w 606227"/>
                <a:gd name="connsiteY12" fmla="*/ 220448 h 533192"/>
                <a:gd name="connsiteX13" fmla="*/ 236856 w 606227"/>
                <a:gd name="connsiteY13" fmla="*/ 208491 h 533192"/>
                <a:gd name="connsiteX14" fmla="*/ 224786 w 606227"/>
                <a:gd name="connsiteY14" fmla="*/ 220448 h 533192"/>
                <a:gd name="connsiteX15" fmla="*/ 224786 w 606227"/>
                <a:gd name="connsiteY15" fmla="*/ 297841 h 533192"/>
                <a:gd name="connsiteX16" fmla="*/ 190153 w 606227"/>
                <a:gd name="connsiteY16" fmla="*/ 297841 h 533192"/>
                <a:gd name="connsiteX17" fmla="*/ 178176 w 606227"/>
                <a:gd name="connsiteY17" fmla="*/ 309797 h 533192"/>
                <a:gd name="connsiteX18" fmla="*/ 190153 w 606227"/>
                <a:gd name="connsiteY18" fmla="*/ 321846 h 533192"/>
                <a:gd name="connsiteX19" fmla="*/ 418187 w 606227"/>
                <a:gd name="connsiteY19" fmla="*/ 321846 h 533192"/>
                <a:gd name="connsiteX20" fmla="*/ 430165 w 606227"/>
                <a:gd name="connsiteY20" fmla="*/ 309797 h 533192"/>
                <a:gd name="connsiteX21" fmla="*/ 418187 w 606227"/>
                <a:gd name="connsiteY21" fmla="*/ 297841 h 533192"/>
                <a:gd name="connsiteX22" fmla="*/ 383555 w 606227"/>
                <a:gd name="connsiteY22" fmla="*/ 297841 h 533192"/>
                <a:gd name="connsiteX23" fmla="*/ 383555 w 606227"/>
                <a:gd name="connsiteY23" fmla="*/ 186339 h 533192"/>
                <a:gd name="connsiteX24" fmla="*/ 371485 w 606227"/>
                <a:gd name="connsiteY24" fmla="*/ 174382 h 533192"/>
                <a:gd name="connsiteX25" fmla="*/ 359508 w 606227"/>
                <a:gd name="connsiteY25" fmla="*/ 186339 h 533192"/>
                <a:gd name="connsiteX26" fmla="*/ 359508 w 606227"/>
                <a:gd name="connsiteY26" fmla="*/ 297841 h 533192"/>
                <a:gd name="connsiteX27" fmla="*/ 316148 w 606227"/>
                <a:gd name="connsiteY27" fmla="*/ 297841 h 533192"/>
                <a:gd name="connsiteX28" fmla="*/ 316148 w 606227"/>
                <a:gd name="connsiteY28" fmla="*/ 158070 h 533192"/>
                <a:gd name="connsiteX29" fmla="*/ 304170 w 606227"/>
                <a:gd name="connsiteY29" fmla="*/ 146113 h 533192"/>
                <a:gd name="connsiteX30" fmla="*/ 47632 w 606227"/>
                <a:gd name="connsiteY30" fmla="*/ 64920 h 533192"/>
                <a:gd name="connsiteX31" fmla="*/ 558666 w 606227"/>
                <a:gd name="connsiteY31" fmla="*/ 64920 h 533192"/>
                <a:gd name="connsiteX32" fmla="*/ 558666 w 606227"/>
                <a:gd name="connsiteY32" fmla="*/ 335749 h 533192"/>
                <a:gd name="connsiteX33" fmla="*/ 498036 w 606227"/>
                <a:gd name="connsiteY33" fmla="*/ 396366 h 533192"/>
                <a:gd name="connsiteX34" fmla="*/ 108354 w 606227"/>
                <a:gd name="connsiteY34" fmla="*/ 396366 h 533192"/>
                <a:gd name="connsiteX35" fmla="*/ 47632 w 606227"/>
                <a:gd name="connsiteY35" fmla="*/ 335749 h 533192"/>
                <a:gd name="connsiteX36" fmla="*/ 0 w 606227"/>
                <a:gd name="connsiteY36" fmla="*/ 0 h 533192"/>
                <a:gd name="connsiteX37" fmla="*/ 606227 w 606227"/>
                <a:gd name="connsiteY37" fmla="*/ 0 h 533192"/>
                <a:gd name="connsiteX38" fmla="*/ 606227 w 606227"/>
                <a:gd name="connsiteY38" fmla="*/ 35565 h 533192"/>
                <a:gd name="connsiteX39" fmla="*/ 0 w 606227"/>
                <a:gd name="connsiteY39" fmla="*/ 35565 h 53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6227" h="533192">
                  <a:moveTo>
                    <a:pt x="351345" y="426074"/>
                  </a:moveTo>
                  <a:lnTo>
                    <a:pt x="407490" y="426074"/>
                  </a:lnTo>
                  <a:lnTo>
                    <a:pt x="446467" y="533192"/>
                  </a:lnTo>
                  <a:lnTo>
                    <a:pt x="390229" y="533192"/>
                  </a:lnTo>
                  <a:close/>
                  <a:moveTo>
                    <a:pt x="198757" y="426074"/>
                  </a:moveTo>
                  <a:lnTo>
                    <a:pt x="255023" y="426074"/>
                  </a:lnTo>
                  <a:lnTo>
                    <a:pt x="216119" y="533192"/>
                  </a:lnTo>
                  <a:lnTo>
                    <a:pt x="159760" y="533192"/>
                  </a:lnTo>
                  <a:close/>
                  <a:moveTo>
                    <a:pt x="304170" y="146113"/>
                  </a:moveTo>
                  <a:cubicBezTo>
                    <a:pt x="297485" y="146113"/>
                    <a:pt x="292193" y="151396"/>
                    <a:pt x="292193" y="158070"/>
                  </a:cubicBezTo>
                  <a:lnTo>
                    <a:pt x="292193" y="298304"/>
                  </a:lnTo>
                  <a:lnTo>
                    <a:pt x="248833" y="298304"/>
                  </a:lnTo>
                  <a:lnTo>
                    <a:pt x="248833" y="220448"/>
                  </a:lnTo>
                  <a:cubicBezTo>
                    <a:pt x="248833" y="213774"/>
                    <a:pt x="243541" y="208491"/>
                    <a:pt x="236856" y="208491"/>
                  </a:cubicBezTo>
                  <a:cubicBezTo>
                    <a:pt x="230171" y="208491"/>
                    <a:pt x="224786" y="213774"/>
                    <a:pt x="224786" y="220448"/>
                  </a:cubicBezTo>
                  <a:lnTo>
                    <a:pt x="224786" y="297841"/>
                  </a:lnTo>
                  <a:lnTo>
                    <a:pt x="190153" y="297841"/>
                  </a:lnTo>
                  <a:cubicBezTo>
                    <a:pt x="183375" y="297841"/>
                    <a:pt x="177990" y="303031"/>
                    <a:pt x="178176" y="309797"/>
                  </a:cubicBezTo>
                  <a:cubicBezTo>
                    <a:pt x="178176" y="316470"/>
                    <a:pt x="183468" y="321846"/>
                    <a:pt x="190153" y="321846"/>
                  </a:cubicBezTo>
                  <a:lnTo>
                    <a:pt x="418187" y="321846"/>
                  </a:lnTo>
                  <a:cubicBezTo>
                    <a:pt x="424872" y="321846"/>
                    <a:pt x="430165" y="316470"/>
                    <a:pt x="430165" y="309797"/>
                  </a:cubicBezTo>
                  <a:cubicBezTo>
                    <a:pt x="430165" y="303124"/>
                    <a:pt x="424872" y="297841"/>
                    <a:pt x="418187" y="297841"/>
                  </a:cubicBezTo>
                  <a:lnTo>
                    <a:pt x="383555" y="297841"/>
                  </a:lnTo>
                  <a:lnTo>
                    <a:pt x="383555" y="186339"/>
                  </a:lnTo>
                  <a:cubicBezTo>
                    <a:pt x="383555" y="179666"/>
                    <a:pt x="378170" y="174382"/>
                    <a:pt x="371485" y="174382"/>
                  </a:cubicBezTo>
                  <a:cubicBezTo>
                    <a:pt x="364800" y="174382"/>
                    <a:pt x="359508" y="179666"/>
                    <a:pt x="359508" y="186339"/>
                  </a:cubicBezTo>
                  <a:lnTo>
                    <a:pt x="359508" y="297841"/>
                  </a:lnTo>
                  <a:lnTo>
                    <a:pt x="316148" y="297841"/>
                  </a:lnTo>
                  <a:lnTo>
                    <a:pt x="316148" y="158070"/>
                  </a:lnTo>
                  <a:cubicBezTo>
                    <a:pt x="316148" y="151396"/>
                    <a:pt x="310855" y="146113"/>
                    <a:pt x="304170" y="146113"/>
                  </a:cubicBezTo>
                  <a:close/>
                  <a:moveTo>
                    <a:pt x="47632" y="64920"/>
                  </a:moveTo>
                  <a:lnTo>
                    <a:pt x="558666" y="64920"/>
                  </a:lnTo>
                  <a:lnTo>
                    <a:pt x="558666" y="335749"/>
                  </a:lnTo>
                  <a:cubicBezTo>
                    <a:pt x="558666" y="369394"/>
                    <a:pt x="531740" y="396366"/>
                    <a:pt x="498036" y="396366"/>
                  </a:cubicBezTo>
                  <a:lnTo>
                    <a:pt x="108354" y="396366"/>
                  </a:lnTo>
                  <a:cubicBezTo>
                    <a:pt x="74651" y="396366"/>
                    <a:pt x="47632" y="369394"/>
                    <a:pt x="47632" y="335749"/>
                  </a:cubicBezTo>
                  <a:close/>
                  <a:moveTo>
                    <a:pt x="0" y="0"/>
                  </a:moveTo>
                  <a:lnTo>
                    <a:pt x="606227" y="0"/>
                  </a:lnTo>
                  <a:lnTo>
                    <a:pt x="606227" y="35565"/>
                  </a:lnTo>
                  <a:lnTo>
                    <a:pt x="0" y="355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13055410-8858-78DD-BD5F-B92F627A62D5}"/>
                </a:ext>
              </a:extLst>
            </p:cNvPr>
            <p:cNvSpPr/>
            <p:nvPr/>
          </p:nvSpPr>
          <p:spPr>
            <a:xfrm>
              <a:off x="1086634" y="2098258"/>
              <a:ext cx="790364" cy="235982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2"/>
                  </a:solidFill>
                  <a:cs typeface="+mn-ea"/>
                  <a:sym typeface="+mn-lt"/>
                </a:rPr>
                <a:t>02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93916F21-73CC-6E21-99CE-ADEFBFFCCD8B}"/>
              </a:ext>
            </a:extLst>
          </p:cNvPr>
          <p:cNvGrpSpPr/>
          <p:nvPr/>
        </p:nvGrpSpPr>
        <p:grpSpPr>
          <a:xfrm>
            <a:off x="613227" y="3395753"/>
            <a:ext cx="5947265" cy="1112000"/>
            <a:chOff x="815746" y="1795310"/>
            <a:chExt cx="5947265" cy="1112000"/>
          </a:xfrm>
        </p:grpSpPr>
        <p:sp>
          <p:nvSpPr>
            <p:cNvPr id="46" name="任意多边形: 形状 158">
              <a:extLst>
                <a:ext uri="{FF2B5EF4-FFF2-40B4-BE49-F238E27FC236}">
                  <a16:creationId xmlns:a16="http://schemas.microsoft.com/office/drawing/2014/main" id="{6CC26389-DA11-F099-5491-70B3A50B6CA2}"/>
                </a:ext>
              </a:extLst>
            </p:cNvPr>
            <p:cNvSpPr/>
            <p:nvPr/>
          </p:nvSpPr>
          <p:spPr bwMode="auto">
            <a:xfrm>
              <a:off x="1093935" y="1795310"/>
              <a:ext cx="5544323" cy="1112000"/>
            </a:xfrm>
            <a:custGeom>
              <a:avLst/>
              <a:gdLst>
                <a:gd name="T0" fmla="*/ 1719 w 1843"/>
                <a:gd name="T1" fmla="*/ 85 h 487"/>
                <a:gd name="T2" fmla="*/ 247 w 1843"/>
                <a:gd name="T3" fmla="*/ 85 h 487"/>
                <a:gd name="T4" fmla="*/ 228 w 1843"/>
                <a:gd name="T5" fmla="*/ 86 h 487"/>
                <a:gd name="T6" fmla="*/ 228 w 1843"/>
                <a:gd name="T7" fmla="*/ 42 h 487"/>
                <a:gd name="T8" fmla="*/ 175 w 1843"/>
                <a:gd name="T9" fmla="*/ 22 h 487"/>
                <a:gd name="T10" fmla="*/ 9 w 1843"/>
                <a:gd name="T11" fmla="*/ 225 h 487"/>
                <a:gd name="T12" fmla="*/ 9 w 1843"/>
                <a:gd name="T13" fmla="*/ 263 h 487"/>
                <a:gd name="T14" fmla="*/ 175 w 1843"/>
                <a:gd name="T15" fmla="*/ 465 h 487"/>
                <a:gd name="T16" fmla="*/ 228 w 1843"/>
                <a:gd name="T17" fmla="*/ 446 h 487"/>
                <a:gd name="T18" fmla="*/ 228 w 1843"/>
                <a:gd name="T19" fmla="*/ 401 h 487"/>
                <a:gd name="T20" fmla="*/ 247 w 1843"/>
                <a:gd name="T21" fmla="*/ 403 h 487"/>
                <a:gd name="T22" fmla="*/ 1719 w 1843"/>
                <a:gd name="T23" fmla="*/ 403 h 487"/>
                <a:gd name="T24" fmla="*/ 1843 w 1843"/>
                <a:gd name="T25" fmla="*/ 279 h 487"/>
                <a:gd name="T26" fmla="*/ 1843 w 1843"/>
                <a:gd name="T27" fmla="*/ 209 h 487"/>
                <a:gd name="T28" fmla="*/ 1719 w 1843"/>
                <a:gd name="T29" fmla="*/ 8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3" h="487">
                  <a:moveTo>
                    <a:pt x="1719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93" y="487"/>
                    <a:pt x="228" y="475"/>
                    <a:pt x="228" y="446"/>
                  </a:cubicBezTo>
                  <a:cubicBezTo>
                    <a:pt x="228" y="401"/>
                    <a:pt x="228" y="401"/>
                    <a:pt x="228" y="401"/>
                  </a:cubicBezTo>
                  <a:cubicBezTo>
                    <a:pt x="234" y="402"/>
                    <a:pt x="241" y="403"/>
                    <a:pt x="247" y="403"/>
                  </a:cubicBezTo>
                  <a:cubicBezTo>
                    <a:pt x="1719" y="403"/>
                    <a:pt x="1719" y="403"/>
                    <a:pt x="1719" y="403"/>
                  </a:cubicBezTo>
                  <a:cubicBezTo>
                    <a:pt x="1787" y="403"/>
                    <a:pt x="1843" y="347"/>
                    <a:pt x="1843" y="279"/>
                  </a:cubicBezTo>
                  <a:cubicBezTo>
                    <a:pt x="1843" y="209"/>
                    <a:pt x="1843" y="209"/>
                    <a:pt x="1843" y="209"/>
                  </a:cubicBezTo>
                  <a:cubicBezTo>
                    <a:pt x="1843" y="140"/>
                    <a:pt x="1787" y="85"/>
                    <a:pt x="1719" y="85"/>
                  </a:cubicBezTo>
                  <a:close/>
                </a:path>
              </a:pathLst>
            </a:custGeom>
            <a:solidFill>
              <a:srgbClr val="FED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47" name="任意多边形: 形状 159">
              <a:extLst>
                <a:ext uri="{FF2B5EF4-FFF2-40B4-BE49-F238E27FC236}">
                  <a16:creationId xmlns:a16="http://schemas.microsoft.com/office/drawing/2014/main" id="{E67C9518-E133-1F00-D80E-DA987D59D7ED}"/>
                </a:ext>
              </a:extLst>
            </p:cNvPr>
            <p:cNvSpPr/>
            <p:nvPr/>
          </p:nvSpPr>
          <p:spPr bwMode="auto">
            <a:xfrm>
              <a:off x="815746" y="1813192"/>
              <a:ext cx="1459184" cy="1078038"/>
            </a:xfrm>
            <a:custGeom>
              <a:avLst/>
              <a:gdLst>
                <a:gd name="T0" fmla="*/ 485 w 485"/>
                <a:gd name="T1" fmla="*/ 85 h 472"/>
                <a:gd name="T2" fmla="*/ 247 w 485"/>
                <a:gd name="T3" fmla="*/ 85 h 472"/>
                <a:gd name="T4" fmla="*/ 228 w 485"/>
                <a:gd name="T5" fmla="*/ 86 h 472"/>
                <a:gd name="T6" fmla="*/ 228 w 485"/>
                <a:gd name="T7" fmla="*/ 42 h 472"/>
                <a:gd name="T8" fmla="*/ 175 w 485"/>
                <a:gd name="T9" fmla="*/ 22 h 472"/>
                <a:gd name="T10" fmla="*/ 9 w 485"/>
                <a:gd name="T11" fmla="*/ 225 h 472"/>
                <a:gd name="T12" fmla="*/ 9 w 485"/>
                <a:gd name="T13" fmla="*/ 263 h 472"/>
                <a:gd name="T14" fmla="*/ 175 w 485"/>
                <a:gd name="T15" fmla="*/ 465 h 472"/>
                <a:gd name="T16" fmla="*/ 182 w 485"/>
                <a:gd name="T17" fmla="*/ 472 h 472"/>
                <a:gd name="T18" fmla="*/ 485 w 485"/>
                <a:gd name="T19" fmla="*/ 8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5" h="472">
                  <a:moveTo>
                    <a:pt x="485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77" y="468"/>
                    <a:pt x="179" y="470"/>
                    <a:pt x="182" y="472"/>
                  </a:cubicBezTo>
                  <a:cubicBezTo>
                    <a:pt x="221" y="334"/>
                    <a:pt x="304" y="173"/>
                    <a:pt x="485" y="8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76200" dist="38100" algn="l" rotWithShape="0">
                <a:schemeClr val="tx2">
                  <a:alpha val="50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C48B2BD1-3169-4D8C-B834-1D6F58F1B072}"/>
                </a:ext>
              </a:extLst>
            </p:cNvPr>
            <p:cNvSpPr/>
            <p:nvPr/>
          </p:nvSpPr>
          <p:spPr>
            <a:xfrm>
              <a:off x="2138228" y="2117345"/>
              <a:ext cx="4624783" cy="433570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Literature Review</a:t>
              </a:r>
            </a:p>
          </p:txBody>
        </p:sp>
        <p:sp>
          <p:nvSpPr>
            <p:cNvPr id="49" name="任意多边形: 形状 162">
              <a:extLst>
                <a:ext uri="{FF2B5EF4-FFF2-40B4-BE49-F238E27FC236}">
                  <a16:creationId xmlns:a16="http://schemas.microsoft.com/office/drawing/2014/main" id="{1D381155-69BB-BD60-71E6-C00060155A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46210" y="2262496"/>
              <a:ext cx="273406" cy="232954"/>
            </a:xfrm>
            <a:custGeom>
              <a:avLst/>
              <a:gdLst>
                <a:gd name="connsiteX0" fmla="*/ 351345 w 606227"/>
                <a:gd name="connsiteY0" fmla="*/ 426074 h 533192"/>
                <a:gd name="connsiteX1" fmla="*/ 407490 w 606227"/>
                <a:gd name="connsiteY1" fmla="*/ 426074 h 533192"/>
                <a:gd name="connsiteX2" fmla="*/ 446467 w 606227"/>
                <a:gd name="connsiteY2" fmla="*/ 533192 h 533192"/>
                <a:gd name="connsiteX3" fmla="*/ 390229 w 606227"/>
                <a:gd name="connsiteY3" fmla="*/ 533192 h 533192"/>
                <a:gd name="connsiteX4" fmla="*/ 198757 w 606227"/>
                <a:gd name="connsiteY4" fmla="*/ 426074 h 533192"/>
                <a:gd name="connsiteX5" fmla="*/ 255023 w 606227"/>
                <a:gd name="connsiteY5" fmla="*/ 426074 h 533192"/>
                <a:gd name="connsiteX6" fmla="*/ 216119 w 606227"/>
                <a:gd name="connsiteY6" fmla="*/ 533192 h 533192"/>
                <a:gd name="connsiteX7" fmla="*/ 159760 w 606227"/>
                <a:gd name="connsiteY7" fmla="*/ 533192 h 533192"/>
                <a:gd name="connsiteX8" fmla="*/ 304170 w 606227"/>
                <a:gd name="connsiteY8" fmla="*/ 146113 h 533192"/>
                <a:gd name="connsiteX9" fmla="*/ 292193 w 606227"/>
                <a:gd name="connsiteY9" fmla="*/ 158070 h 533192"/>
                <a:gd name="connsiteX10" fmla="*/ 292193 w 606227"/>
                <a:gd name="connsiteY10" fmla="*/ 298304 h 533192"/>
                <a:gd name="connsiteX11" fmla="*/ 248833 w 606227"/>
                <a:gd name="connsiteY11" fmla="*/ 298304 h 533192"/>
                <a:gd name="connsiteX12" fmla="*/ 248833 w 606227"/>
                <a:gd name="connsiteY12" fmla="*/ 220448 h 533192"/>
                <a:gd name="connsiteX13" fmla="*/ 236856 w 606227"/>
                <a:gd name="connsiteY13" fmla="*/ 208491 h 533192"/>
                <a:gd name="connsiteX14" fmla="*/ 224786 w 606227"/>
                <a:gd name="connsiteY14" fmla="*/ 220448 h 533192"/>
                <a:gd name="connsiteX15" fmla="*/ 224786 w 606227"/>
                <a:gd name="connsiteY15" fmla="*/ 297841 h 533192"/>
                <a:gd name="connsiteX16" fmla="*/ 190153 w 606227"/>
                <a:gd name="connsiteY16" fmla="*/ 297841 h 533192"/>
                <a:gd name="connsiteX17" fmla="*/ 178176 w 606227"/>
                <a:gd name="connsiteY17" fmla="*/ 309797 h 533192"/>
                <a:gd name="connsiteX18" fmla="*/ 190153 w 606227"/>
                <a:gd name="connsiteY18" fmla="*/ 321846 h 533192"/>
                <a:gd name="connsiteX19" fmla="*/ 418187 w 606227"/>
                <a:gd name="connsiteY19" fmla="*/ 321846 h 533192"/>
                <a:gd name="connsiteX20" fmla="*/ 430165 w 606227"/>
                <a:gd name="connsiteY20" fmla="*/ 309797 h 533192"/>
                <a:gd name="connsiteX21" fmla="*/ 418187 w 606227"/>
                <a:gd name="connsiteY21" fmla="*/ 297841 h 533192"/>
                <a:gd name="connsiteX22" fmla="*/ 383555 w 606227"/>
                <a:gd name="connsiteY22" fmla="*/ 297841 h 533192"/>
                <a:gd name="connsiteX23" fmla="*/ 383555 w 606227"/>
                <a:gd name="connsiteY23" fmla="*/ 186339 h 533192"/>
                <a:gd name="connsiteX24" fmla="*/ 371485 w 606227"/>
                <a:gd name="connsiteY24" fmla="*/ 174382 h 533192"/>
                <a:gd name="connsiteX25" fmla="*/ 359508 w 606227"/>
                <a:gd name="connsiteY25" fmla="*/ 186339 h 533192"/>
                <a:gd name="connsiteX26" fmla="*/ 359508 w 606227"/>
                <a:gd name="connsiteY26" fmla="*/ 297841 h 533192"/>
                <a:gd name="connsiteX27" fmla="*/ 316148 w 606227"/>
                <a:gd name="connsiteY27" fmla="*/ 297841 h 533192"/>
                <a:gd name="connsiteX28" fmla="*/ 316148 w 606227"/>
                <a:gd name="connsiteY28" fmla="*/ 158070 h 533192"/>
                <a:gd name="connsiteX29" fmla="*/ 304170 w 606227"/>
                <a:gd name="connsiteY29" fmla="*/ 146113 h 533192"/>
                <a:gd name="connsiteX30" fmla="*/ 47632 w 606227"/>
                <a:gd name="connsiteY30" fmla="*/ 64920 h 533192"/>
                <a:gd name="connsiteX31" fmla="*/ 558666 w 606227"/>
                <a:gd name="connsiteY31" fmla="*/ 64920 h 533192"/>
                <a:gd name="connsiteX32" fmla="*/ 558666 w 606227"/>
                <a:gd name="connsiteY32" fmla="*/ 335749 h 533192"/>
                <a:gd name="connsiteX33" fmla="*/ 498036 w 606227"/>
                <a:gd name="connsiteY33" fmla="*/ 396366 h 533192"/>
                <a:gd name="connsiteX34" fmla="*/ 108354 w 606227"/>
                <a:gd name="connsiteY34" fmla="*/ 396366 h 533192"/>
                <a:gd name="connsiteX35" fmla="*/ 47632 w 606227"/>
                <a:gd name="connsiteY35" fmla="*/ 335749 h 533192"/>
                <a:gd name="connsiteX36" fmla="*/ 0 w 606227"/>
                <a:gd name="connsiteY36" fmla="*/ 0 h 533192"/>
                <a:gd name="connsiteX37" fmla="*/ 606227 w 606227"/>
                <a:gd name="connsiteY37" fmla="*/ 0 h 533192"/>
                <a:gd name="connsiteX38" fmla="*/ 606227 w 606227"/>
                <a:gd name="connsiteY38" fmla="*/ 35565 h 533192"/>
                <a:gd name="connsiteX39" fmla="*/ 0 w 606227"/>
                <a:gd name="connsiteY39" fmla="*/ 35565 h 53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6227" h="533192">
                  <a:moveTo>
                    <a:pt x="351345" y="426074"/>
                  </a:moveTo>
                  <a:lnTo>
                    <a:pt x="407490" y="426074"/>
                  </a:lnTo>
                  <a:lnTo>
                    <a:pt x="446467" y="533192"/>
                  </a:lnTo>
                  <a:lnTo>
                    <a:pt x="390229" y="533192"/>
                  </a:lnTo>
                  <a:close/>
                  <a:moveTo>
                    <a:pt x="198757" y="426074"/>
                  </a:moveTo>
                  <a:lnTo>
                    <a:pt x="255023" y="426074"/>
                  </a:lnTo>
                  <a:lnTo>
                    <a:pt x="216119" y="533192"/>
                  </a:lnTo>
                  <a:lnTo>
                    <a:pt x="159760" y="533192"/>
                  </a:lnTo>
                  <a:close/>
                  <a:moveTo>
                    <a:pt x="304170" y="146113"/>
                  </a:moveTo>
                  <a:cubicBezTo>
                    <a:pt x="297485" y="146113"/>
                    <a:pt x="292193" y="151396"/>
                    <a:pt x="292193" y="158070"/>
                  </a:cubicBezTo>
                  <a:lnTo>
                    <a:pt x="292193" y="298304"/>
                  </a:lnTo>
                  <a:lnTo>
                    <a:pt x="248833" y="298304"/>
                  </a:lnTo>
                  <a:lnTo>
                    <a:pt x="248833" y="220448"/>
                  </a:lnTo>
                  <a:cubicBezTo>
                    <a:pt x="248833" y="213774"/>
                    <a:pt x="243541" y="208491"/>
                    <a:pt x="236856" y="208491"/>
                  </a:cubicBezTo>
                  <a:cubicBezTo>
                    <a:pt x="230171" y="208491"/>
                    <a:pt x="224786" y="213774"/>
                    <a:pt x="224786" y="220448"/>
                  </a:cubicBezTo>
                  <a:lnTo>
                    <a:pt x="224786" y="297841"/>
                  </a:lnTo>
                  <a:lnTo>
                    <a:pt x="190153" y="297841"/>
                  </a:lnTo>
                  <a:cubicBezTo>
                    <a:pt x="183375" y="297841"/>
                    <a:pt x="177990" y="303031"/>
                    <a:pt x="178176" y="309797"/>
                  </a:cubicBezTo>
                  <a:cubicBezTo>
                    <a:pt x="178176" y="316470"/>
                    <a:pt x="183468" y="321846"/>
                    <a:pt x="190153" y="321846"/>
                  </a:cubicBezTo>
                  <a:lnTo>
                    <a:pt x="418187" y="321846"/>
                  </a:lnTo>
                  <a:cubicBezTo>
                    <a:pt x="424872" y="321846"/>
                    <a:pt x="430165" y="316470"/>
                    <a:pt x="430165" y="309797"/>
                  </a:cubicBezTo>
                  <a:cubicBezTo>
                    <a:pt x="430165" y="303124"/>
                    <a:pt x="424872" y="297841"/>
                    <a:pt x="418187" y="297841"/>
                  </a:cubicBezTo>
                  <a:lnTo>
                    <a:pt x="383555" y="297841"/>
                  </a:lnTo>
                  <a:lnTo>
                    <a:pt x="383555" y="186339"/>
                  </a:lnTo>
                  <a:cubicBezTo>
                    <a:pt x="383555" y="179666"/>
                    <a:pt x="378170" y="174382"/>
                    <a:pt x="371485" y="174382"/>
                  </a:cubicBezTo>
                  <a:cubicBezTo>
                    <a:pt x="364800" y="174382"/>
                    <a:pt x="359508" y="179666"/>
                    <a:pt x="359508" y="186339"/>
                  </a:cubicBezTo>
                  <a:lnTo>
                    <a:pt x="359508" y="297841"/>
                  </a:lnTo>
                  <a:lnTo>
                    <a:pt x="316148" y="297841"/>
                  </a:lnTo>
                  <a:lnTo>
                    <a:pt x="316148" y="158070"/>
                  </a:lnTo>
                  <a:cubicBezTo>
                    <a:pt x="316148" y="151396"/>
                    <a:pt x="310855" y="146113"/>
                    <a:pt x="304170" y="146113"/>
                  </a:cubicBezTo>
                  <a:close/>
                  <a:moveTo>
                    <a:pt x="47632" y="64920"/>
                  </a:moveTo>
                  <a:lnTo>
                    <a:pt x="558666" y="64920"/>
                  </a:lnTo>
                  <a:lnTo>
                    <a:pt x="558666" y="335749"/>
                  </a:lnTo>
                  <a:cubicBezTo>
                    <a:pt x="558666" y="369394"/>
                    <a:pt x="531740" y="396366"/>
                    <a:pt x="498036" y="396366"/>
                  </a:cubicBezTo>
                  <a:lnTo>
                    <a:pt x="108354" y="396366"/>
                  </a:lnTo>
                  <a:cubicBezTo>
                    <a:pt x="74651" y="396366"/>
                    <a:pt x="47632" y="369394"/>
                    <a:pt x="47632" y="335749"/>
                  </a:cubicBezTo>
                  <a:close/>
                  <a:moveTo>
                    <a:pt x="0" y="0"/>
                  </a:moveTo>
                  <a:lnTo>
                    <a:pt x="606227" y="0"/>
                  </a:lnTo>
                  <a:lnTo>
                    <a:pt x="606227" y="35565"/>
                  </a:lnTo>
                  <a:lnTo>
                    <a:pt x="0" y="355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A02EBC14-C626-84E2-D42E-7F5E118EBEAB}"/>
                </a:ext>
              </a:extLst>
            </p:cNvPr>
            <p:cNvSpPr/>
            <p:nvPr/>
          </p:nvSpPr>
          <p:spPr>
            <a:xfrm>
              <a:off x="1086634" y="2098258"/>
              <a:ext cx="790364" cy="235982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2"/>
                  </a:solidFill>
                  <a:cs typeface="+mn-ea"/>
                  <a:sym typeface="+mn-lt"/>
                </a:rPr>
                <a:t>01</a:t>
              </a:r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71A6F488-359B-58F0-17B8-BA2EBE17B30E}"/>
              </a:ext>
            </a:extLst>
          </p:cNvPr>
          <p:cNvGrpSpPr/>
          <p:nvPr/>
        </p:nvGrpSpPr>
        <p:grpSpPr>
          <a:xfrm>
            <a:off x="6000414" y="4449368"/>
            <a:ext cx="5947265" cy="1112000"/>
            <a:chOff x="815746" y="1795310"/>
            <a:chExt cx="5947265" cy="1112000"/>
          </a:xfrm>
        </p:grpSpPr>
        <p:sp>
          <p:nvSpPr>
            <p:cNvPr id="52" name="任意多边形: 形状 158">
              <a:extLst>
                <a:ext uri="{FF2B5EF4-FFF2-40B4-BE49-F238E27FC236}">
                  <a16:creationId xmlns:a16="http://schemas.microsoft.com/office/drawing/2014/main" id="{9CA017C6-6D5A-D503-990C-3D091EF6BE3A}"/>
                </a:ext>
              </a:extLst>
            </p:cNvPr>
            <p:cNvSpPr/>
            <p:nvPr/>
          </p:nvSpPr>
          <p:spPr bwMode="auto">
            <a:xfrm>
              <a:off x="1093935" y="1795310"/>
              <a:ext cx="5544323" cy="1112000"/>
            </a:xfrm>
            <a:custGeom>
              <a:avLst/>
              <a:gdLst>
                <a:gd name="T0" fmla="*/ 1719 w 1843"/>
                <a:gd name="T1" fmla="*/ 85 h 487"/>
                <a:gd name="T2" fmla="*/ 247 w 1843"/>
                <a:gd name="T3" fmla="*/ 85 h 487"/>
                <a:gd name="T4" fmla="*/ 228 w 1843"/>
                <a:gd name="T5" fmla="*/ 86 h 487"/>
                <a:gd name="T6" fmla="*/ 228 w 1843"/>
                <a:gd name="T7" fmla="*/ 42 h 487"/>
                <a:gd name="T8" fmla="*/ 175 w 1843"/>
                <a:gd name="T9" fmla="*/ 22 h 487"/>
                <a:gd name="T10" fmla="*/ 9 w 1843"/>
                <a:gd name="T11" fmla="*/ 225 h 487"/>
                <a:gd name="T12" fmla="*/ 9 w 1843"/>
                <a:gd name="T13" fmla="*/ 263 h 487"/>
                <a:gd name="T14" fmla="*/ 175 w 1843"/>
                <a:gd name="T15" fmla="*/ 465 h 487"/>
                <a:gd name="T16" fmla="*/ 228 w 1843"/>
                <a:gd name="T17" fmla="*/ 446 h 487"/>
                <a:gd name="T18" fmla="*/ 228 w 1843"/>
                <a:gd name="T19" fmla="*/ 401 h 487"/>
                <a:gd name="T20" fmla="*/ 247 w 1843"/>
                <a:gd name="T21" fmla="*/ 403 h 487"/>
                <a:gd name="T22" fmla="*/ 1719 w 1843"/>
                <a:gd name="T23" fmla="*/ 403 h 487"/>
                <a:gd name="T24" fmla="*/ 1843 w 1843"/>
                <a:gd name="T25" fmla="*/ 279 h 487"/>
                <a:gd name="T26" fmla="*/ 1843 w 1843"/>
                <a:gd name="T27" fmla="*/ 209 h 487"/>
                <a:gd name="T28" fmla="*/ 1719 w 1843"/>
                <a:gd name="T29" fmla="*/ 8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3" h="487">
                  <a:moveTo>
                    <a:pt x="1719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93" y="487"/>
                    <a:pt x="228" y="475"/>
                    <a:pt x="228" y="446"/>
                  </a:cubicBezTo>
                  <a:cubicBezTo>
                    <a:pt x="228" y="401"/>
                    <a:pt x="228" y="401"/>
                    <a:pt x="228" y="401"/>
                  </a:cubicBezTo>
                  <a:cubicBezTo>
                    <a:pt x="234" y="402"/>
                    <a:pt x="241" y="403"/>
                    <a:pt x="247" y="403"/>
                  </a:cubicBezTo>
                  <a:cubicBezTo>
                    <a:pt x="1719" y="403"/>
                    <a:pt x="1719" y="403"/>
                    <a:pt x="1719" y="403"/>
                  </a:cubicBezTo>
                  <a:cubicBezTo>
                    <a:pt x="1787" y="403"/>
                    <a:pt x="1843" y="347"/>
                    <a:pt x="1843" y="279"/>
                  </a:cubicBezTo>
                  <a:cubicBezTo>
                    <a:pt x="1843" y="209"/>
                    <a:pt x="1843" y="209"/>
                    <a:pt x="1843" y="209"/>
                  </a:cubicBezTo>
                  <a:cubicBezTo>
                    <a:pt x="1843" y="140"/>
                    <a:pt x="1787" y="85"/>
                    <a:pt x="1719" y="85"/>
                  </a:cubicBezTo>
                  <a:close/>
                </a:path>
              </a:pathLst>
            </a:custGeom>
            <a:solidFill>
              <a:srgbClr val="FED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53" name="任意多边形: 形状 159">
              <a:extLst>
                <a:ext uri="{FF2B5EF4-FFF2-40B4-BE49-F238E27FC236}">
                  <a16:creationId xmlns:a16="http://schemas.microsoft.com/office/drawing/2014/main" id="{4458F4F6-FDE4-06DF-0A3B-71958141A6A6}"/>
                </a:ext>
              </a:extLst>
            </p:cNvPr>
            <p:cNvSpPr/>
            <p:nvPr/>
          </p:nvSpPr>
          <p:spPr bwMode="auto">
            <a:xfrm>
              <a:off x="815746" y="1813192"/>
              <a:ext cx="1459184" cy="1078038"/>
            </a:xfrm>
            <a:custGeom>
              <a:avLst/>
              <a:gdLst>
                <a:gd name="T0" fmla="*/ 485 w 485"/>
                <a:gd name="T1" fmla="*/ 85 h 472"/>
                <a:gd name="T2" fmla="*/ 247 w 485"/>
                <a:gd name="T3" fmla="*/ 85 h 472"/>
                <a:gd name="T4" fmla="*/ 228 w 485"/>
                <a:gd name="T5" fmla="*/ 86 h 472"/>
                <a:gd name="T6" fmla="*/ 228 w 485"/>
                <a:gd name="T7" fmla="*/ 42 h 472"/>
                <a:gd name="T8" fmla="*/ 175 w 485"/>
                <a:gd name="T9" fmla="*/ 22 h 472"/>
                <a:gd name="T10" fmla="*/ 9 w 485"/>
                <a:gd name="T11" fmla="*/ 225 h 472"/>
                <a:gd name="T12" fmla="*/ 9 w 485"/>
                <a:gd name="T13" fmla="*/ 263 h 472"/>
                <a:gd name="T14" fmla="*/ 175 w 485"/>
                <a:gd name="T15" fmla="*/ 465 h 472"/>
                <a:gd name="T16" fmla="*/ 182 w 485"/>
                <a:gd name="T17" fmla="*/ 472 h 472"/>
                <a:gd name="T18" fmla="*/ 485 w 485"/>
                <a:gd name="T19" fmla="*/ 8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5" h="472">
                  <a:moveTo>
                    <a:pt x="485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77" y="468"/>
                    <a:pt x="179" y="470"/>
                    <a:pt x="182" y="472"/>
                  </a:cubicBezTo>
                  <a:cubicBezTo>
                    <a:pt x="221" y="334"/>
                    <a:pt x="304" y="173"/>
                    <a:pt x="485" y="8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76200" dist="38100" algn="l" rotWithShape="0">
                <a:schemeClr val="tx2">
                  <a:alpha val="50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22BD8EA9-C4FB-34BD-BB87-4E40A084F436}"/>
                </a:ext>
              </a:extLst>
            </p:cNvPr>
            <p:cNvSpPr/>
            <p:nvPr/>
          </p:nvSpPr>
          <p:spPr>
            <a:xfrm>
              <a:off x="2138228" y="2117345"/>
              <a:ext cx="4624783" cy="433570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Research Methods and Data Sources</a:t>
              </a:r>
            </a:p>
          </p:txBody>
        </p:sp>
        <p:sp>
          <p:nvSpPr>
            <p:cNvPr id="55" name="任意多边形: 形状 162">
              <a:extLst>
                <a:ext uri="{FF2B5EF4-FFF2-40B4-BE49-F238E27FC236}">
                  <a16:creationId xmlns:a16="http://schemas.microsoft.com/office/drawing/2014/main" id="{DE6EA151-6242-EF15-212B-2F70EF31E0B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46210" y="2262496"/>
              <a:ext cx="273406" cy="232954"/>
            </a:xfrm>
            <a:custGeom>
              <a:avLst/>
              <a:gdLst>
                <a:gd name="connsiteX0" fmla="*/ 351345 w 606227"/>
                <a:gd name="connsiteY0" fmla="*/ 426074 h 533192"/>
                <a:gd name="connsiteX1" fmla="*/ 407490 w 606227"/>
                <a:gd name="connsiteY1" fmla="*/ 426074 h 533192"/>
                <a:gd name="connsiteX2" fmla="*/ 446467 w 606227"/>
                <a:gd name="connsiteY2" fmla="*/ 533192 h 533192"/>
                <a:gd name="connsiteX3" fmla="*/ 390229 w 606227"/>
                <a:gd name="connsiteY3" fmla="*/ 533192 h 533192"/>
                <a:gd name="connsiteX4" fmla="*/ 198757 w 606227"/>
                <a:gd name="connsiteY4" fmla="*/ 426074 h 533192"/>
                <a:gd name="connsiteX5" fmla="*/ 255023 w 606227"/>
                <a:gd name="connsiteY5" fmla="*/ 426074 h 533192"/>
                <a:gd name="connsiteX6" fmla="*/ 216119 w 606227"/>
                <a:gd name="connsiteY6" fmla="*/ 533192 h 533192"/>
                <a:gd name="connsiteX7" fmla="*/ 159760 w 606227"/>
                <a:gd name="connsiteY7" fmla="*/ 533192 h 533192"/>
                <a:gd name="connsiteX8" fmla="*/ 304170 w 606227"/>
                <a:gd name="connsiteY8" fmla="*/ 146113 h 533192"/>
                <a:gd name="connsiteX9" fmla="*/ 292193 w 606227"/>
                <a:gd name="connsiteY9" fmla="*/ 158070 h 533192"/>
                <a:gd name="connsiteX10" fmla="*/ 292193 w 606227"/>
                <a:gd name="connsiteY10" fmla="*/ 298304 h 533192"/>
                <a:gd name="connsiteX11" fmla="*/ 248833 w 606227"/>
                <a:gd name="connsiteY11" fmla="*/ 298304 h 533192"/>
                <a:gd name="connsiteX12" fmla="*/ 248833 w 606227"/>
                <a:gd name="connsiteY12" fmla="*/ 220448 h 533192"/>
                <a:gd name="connsiteX13" fmla="*/ 236856 w 606227"/>
                <a:gd name="connsiteY13" fmla="*/ 208491 h 533192"/>
                <a:gd name="connsiteX14" fmla="*/ 224786 w 606227"/>
                <a:gd name="connsiteY14" fmla="*/ 220448 h 533192"/>
                <a:gd name="connsiteX15" fmla="*/ 224786 w 606227"/>
                <a:gd name="connsiteY15" fmla="*/ 297841 h 533192"/>
                <a:gd name="connsiteX16" fmla="*/ 190153 w 606227"/>
                <a:gd name="connsiteY16" fmla="*/ 297841 h 533192"/>
                <a:gd name="connsiteX17" fmla="*/ 178176 w 606227"/>
                <a:gd name="connsiteY17" fmla="*/ 309797 h 533192"/>
                <a:gd name="connsiteX18" fmla="*/ 190153 w 606227"/>
                <a:gd name="connsiteY18" fmla="*/ 321846 h 533192"/>
                <a:gd name="connsiteX19" fmla="*/ 418187 w 606227"/>
                <a:gd name="connsiteY19" fmla="*/ 321846 h 533192"/>
                <a:gd name="connsiteX20" fmla="*/ 430165 w 606227"/>
                <a:gd name="connsiteY20" fmla="*/ 309797 h 533192"/>
                <a:gd name="connsiteX21" fmla="*/ 418187 w 606227"/>
                <a:gd name="connsiteY21" fmla="*/ 297841 h 533192"/>
                <a:gd name="connsiteX22" fmla="*/ 383555 w 606227"/>
                <a:gd name="connsiteY22" fmla="*/ 297841 h 533192"/>
                <a:gd name="connsiteX23" fmla="*/ 383555 w 606227"/>
                <a:gd name="connsiteY23" fmla="*/ 186339 h 533192"/>
                <a:gd name="connsiteX24" fmla="*/ 371485 w 606227"/>
                <a:gd name="connsiteY24" fmla="*/ 174382 h 533192"/>
                <a:gd name="connsiteX25" fmla="*/ 359508 w 606227"/>
                <a:gd name="connsiteY25" fmla="*/ 186339 h 533192"/>
                <a:gd name="connsiteX26" fmla="*/ 359508 w 606227"/>
                <a:gd name="connsiteY26" fmla="*/ 297841 h 533192"/>
                <a:gd name="connsiteX27" fmla="*/ 316148 w 606227"/>
                <a:gd name="connsiteY27" fmla="*/ 297841 h 533192"/>
                <a:gd name="connsiteX28" fmla="*/ 316148 w 606227"/>
                <a:gd name="connsiteY28" fmla="*/ 158070 h 533192"/>
                <a:gd name="connsiteX29" fmla="*/ 304170 w 606227"/>
                <a:gd name="connsiteY29" fmla="*/ 146113 h 533192"/>
                <a:gd name="connsiteX30" fmla="*/ 47632 w 606227"/>
                <a:gd name="connsiteY30" fmla="*/ 64920 h 533192"/>
                <a:gd name="connsiteX31" fmla="*/ 558666 w 606227"/>
                <a:gd name="connsiteY31" fmla="*/ 64920 h 533192"/>
                <a:gd name="connsiteX32" fmla="*/ 558666 w 606227"/>
                <a:gd name="connsiteY32" fmla="*/ 335749 h 533192"/>
                <a:gd name="connsiteX33" fmla="*/ 498036 w 606227"/>
                <a:gd name="connsiteY33" fmla="*/ 396366 h 533192"/>
                <a:gd name="connsiteX34" fmla="*/ 108354 w 606227"/>
                <a:gd name="connsiteY34" fmla="*/ 396366 h 533192"/>
                <a:gd name="connsiteX35" fmla="*/ 47632 w 606227"/>
                <a:gd name="connsiteY35" fmla="*/ 335749 h 533192"/>
                <a:gd name="connsiteX36" fmla="*/ 0 w 606227"/>
                <a:gd name="connsiteY36" fmla="*/ 0 h 533192"/>
                <a:gd name="connsiteX37" fmla="*/ 606227 w 606227"/>
                <a:gd name="connsiteY37" fmla="*/ 0 h 533192"/>
                <a:gd name="connsiteX38" fmla="*/ 606227 w 606227"/>
                <a:gd name="connsiteY38" fmla="*/ 35565 h 533192"/>
                <a:gd name="connsiteX39" fmla="*/ 0 w 606227"/>
                <a:gd name="connsiteY39" fmla="*/ 35565 h 53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6227" h="533192">
                  <a:moveTo>
                    <a:pt x="351345" y="426074"/>
                  </a:moveTo>
                  <a:lnTo>
                    <a:pt x="407490" y="426074"/>
                  </a:lnTo>
                  <a:lnTo>
                    <a:pt x="446467" y="533192"/>
                  </a:lnTo>
                  <a:lnTo>
                    <a:pt x="390229" y="533192"/>
                  </a:lnTo>
                  <a:close/>
                  <a:moveTo>
                    <a:pt x="198757" y="426074"/>
                  </a:moveTo>
                  <a:lnTo>
                    <a:pt x="255023" y="426074"/>
                  </a:lnTo>
                  <a:lnTo>
                    <a:pt x="216119" y="533192"/>
                  </a:lnTo>
                  <a:lnTo>
                    <a:pt x="159760" y="533192"/>
                  </a:lnTo>
                  <a:close/>
                  <a:moveTo>
                    <a:pt x="304170" y="146113"/>
                  </a:moveTo>
                  <a:cubicBezTo>
                    <a:pt x="297485" y="146113"/>
                    <a:pt x="292193" y="151396"/>
                    <a:pt x="292193" y="158070"/>
                  </a:cubicBezTo>
                  <a:lnTo>
                    <a:pt x="292193" y="298304"/>
                  </a:lnTo>
                  <a:lnTo>
                    <a:pt x="248833" y="298304"/>
                  </a:lnTo>
                  <a:lnTo>
                    <a:pt x="248833" y="220448"/>
                  </a:lnTo>
                  <a:cubicBezTo>
                    <a:pt x="248833" y="213774"/>
                    <a:pt x="243541" y="208491"/>
                    <a:pt x="236856" y="208491"/>
                  </a:cubicBezTo>
                  <a:cubicBezTo>
                    <a:pt x="230171" y="208491"/>
                    <a:pt x="224786" y="213774"/>
                    <a:pt x="224786" y="220448"/>
                  </a:cubicBezTo>
                  <a:lnTo>
                    <a:pt x="224786" y="297841"/>
                  </a:lnTo>
                  <a:lnTo>
                    <a:pt x="190153" y="297841"/>
                  </a:lnTo>
                  <a:cubicBezTo>
                    <a:pt x="183375" y="297841"/>
                    <a:pt x="177990" y="303031"/>
                    <a:pt x="178176" y="309797"/>
                  </a:cubicBezTo>
                  <a:cubicBezTo>
                    <a:pt x="178176" y="316470"/>
                    <a:pt x="183468" y="321846"/>
                    <a:pt x="190153" y="321846"/>
                  </a:cubicBezTo>
                  <a:lnTo>
                    <a:pt x="418187" y="321846"/>
                  </a:lnTo>
                  <a:cubicBezTo>
                    <a:pt x="424872" y="321846"/>
                    <a:pt x="430165" y="316470"/>
                    <a:pt x="430165" y="309797"/>
                  </a:cubicBezTo>
                  <a:cubicBezTo>
                    <a:pt x="430165" y="303124"/>
                    <a:pt x="424872" y="297841"/>
                    <a:pt x="418187" y="297841"/>
                  </a:cubicBezTo>
                  <a:lnTo>
                    <a:pt x="383555" y="297841"/>
                  </a:lnTo>
                  <a:lnTo>
                    <a:pt x="383555" y="186339"/>
                  </a:lnTo>
                  <a:cubicBezTo>
                    <a:pt x="383555" y="179666"/>
                    <a:pt x="378170" y="174382"/>
                    <a:pt x="371485" y="174382"/>
                  </a:cubicBezTo>
                  <a:cubicBezTo>
                    <a:pt x="364800" y="174382"/>
                    <a:pt x="359508" y="179666"/>
                    <a:pt x="359508" y="186339"/>
                  </a:cubicBezTo>
                  <a:lnTo>
                    <a:pt x="359508" y="297841"/>
                  </a:lnTo>
                  <a:lnTo>
                    <a:pt x="316148" y="297841"/>
                  </a:lnTo>
                  <a:lnTo>
                    <a:pt x="316148" y="158070"/>
                  </a:lnTo>
                  <a:cubicBezTo>
                    <a:pt x="316148" y="151396"/>
                    <a:pt x="310855" y="146113"/>
                    <a:pt x="304170" y="146113"/>
                  </a:cubicBezTo>
                  <a:close/>
                  <a:moveTo>
                    <a:pt x="47632" y="64920"/>
                  </a:moveTo>
                  <a:lnTo>
                    <a:pt x="558666" y="64920"/>
                  </a:lnTo>
                  <a:lnTo>
                    <a:pt x="558666" y="335749"/>
                  </a:lnTo>
                  <a:cubicBezTo>
                    <a:pt x="558666" y="369394"/>
                    <a:pt x="531740" y="396366"/>
                    <a:pt x="498036" y="396366"/>
                  </a:cubicBezTo>
                  <a:lnTo>
                    <a:pt x="108354" y="396366"/>
                  </a:lnTo>
                  <a:cubicBezTo>
                    <a:pt x="74651" y="396366"/>
                    <a:pt x="47632" y="369394"/>
                    <a:pt x="47632" y="335749"/>
                  </a:cubicBezTo>
                  <a:close/>
                  <a:moveTo>
                    <a:pt x="0" y="0"/>
                  </a:moveTo>
                  <a:lnTo>
                    <a:pt x="606227" y="0"/>
                  </a:lnTo>
                  <a:lnTo>
                    <a:pt x="606227" y="35565"/>
                  </a:lnTo>
                  <a:lnTo>
                    <a:pt x="0" y="355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6F1EB24A-1722-CFC1-0B36-99340B016456}"/>
                </a:ext>
              </a:extLst>
            </p:cNvPr>
            <p:cNvSpPr/>
            <p:nvPr/>
          </p:nvSpPr>
          <p:spPr>
            <a:xfrm>
              <a:off x="1086634" y="2098258"/>
              <a:ext cx="790364" cy="235982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2"/>
                  </a:solidFill>
                  <a:cs typeface="+mn-ea"/>
                  <a:sym typeface="+mn-lt"/>
                </a:rPr>
                <a:t>04</a:t>
              </a: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D30237D4-463A-9FE2-D351-63CA84BD472A}"/>
              </a:ext>
            </a:extLst>
          </p:cNvPr>
          <p:cNvGrpSpPr/>
          <p:nvPr/>
        </p:nvGrpSpPr>
        <p:grpSpPr>
          <a:xfrm>
            <a:off x="613227" y="5330937"/>
            <a:ext cx="5947265" cy="1112000"/>
            <a:chOff x="815746" y="1795310"/>
            <a:chExt cx="5947265" cy="1112000"/>
          </a:xfrm>
        </p:grpSpPr>
        <p:sp>
          <p:nvSpPr>
            <p:cNvPr id="58" name="任意多边形: 形状 158">
              <a:extLst>
                <a:ext uri="{FF2B5EF4-FFF2-40B4-BE49-F238E27FC236}">
                  <a16:creationId xmlns:a16="http://schemas.microsoft.com/office/drawing/2014/main" id="{D091B235-A063-EF2F-D84D-DE1BD8147C50}"/>
                </a:ext>
              </a:extLst>
            </p:cNvPr>
            <p:cNvSpPr/>
            <p:nvPr/>
          </p:nvSpPr>
          <p:spPr bwMode="auto">
            <a:xfrm>
              <a:off x="1093935" y="1795310"/>
              <a:ext cx="5544323" cy="1112000"/>
            </a:xfrm>
            <a:custGeom>
              <a:avLst/>
              <a:gdLst>
                <a:gd name="T0" fmla="*/ 1719 w 1843"/>
                <a:gd name="T1" fmla="*/ 85 h 487"/>
                <a:gd name="T2" fmla="*/ 247 w 1843"/>
                <a:gd name="T3" fmla="*/ 85 h 487"/>
                <a:gd name="T4" fmla="*/ 228 w 1843"/>
                <a:gd name="T5" fmla="*/ 86 h 487"/>
                <a:gd name="T6" fmla="*/ 228 w 1843"/>
                <a:gd name="T7" fmla="*/ 42 h 487"/>
                <a:gd name="T8" fmla="*/ 175 w 1843"/>
                <a:gd name="T9" fmla="*/ 22 h 487"/>
                <a:gd name="T10" fmla="*/ 9 w 1843"/>
                <a:gd name="T11" fmla="*/ 225 h 487"/>
                <a:gd name="T12" fmla="*/ 9 w 1843"/>
                <a:gd name="T13" fmla="*/ 263 h 487"/>
                <a:gd name="T14" fmla="*/ 175 w 1843"/>
                <a:gd name="T15" fmla="*/ 465 h 487"/>
                <a:gd name="T16" fmla="*/ 228 w 1843"/>
                <a:gd name="T17" fmla="*/ 446 h 487"/>
                <a:gd name="T18" fmla="*/ 228 w 1843"/>
                <a:gd name="T19" fmla="*/ 401 h 487"/>
                <a:gd name="T20" fmla="*/ 247 w 1843"/>
                <a:gd name="T21" fmla="*/ 403 h 487"/>
                <a:gd name="T22" fmla="*/ 1719 w 1843"/>
                <a:gd name="T23" fmla="*/ 403 h 487"/>
                <a:gd name="T24" fmla="*/ 1843 w 1843"/>
                <a:gd name="T25" fmla="*/ 279 h 487"/>
                <a:gd name="T26" fmla="*/ 1843 w 1843"/>
                <a:gd name="T27" fmla="*/ 209 h 487"/>
                <a:gd name="T28" fmla="*/ 1719 w 1843"/>
                <a:gd name="T29" fmla="*/ 8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3" h="487">
                  <a:moveTo>
                    <a:pt x="1719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93" y="487"/>
                    <a:pt x="228" y="475"/>
                    <a:pt x="228" y="446"/>
                  </a:cubicBezTo>
                  <a:cubicBezTo>
                    <a:pt x="228" y="401"/>
                    <a:pt x="228" y="401"/>
                    <a:pt x="228" y="401"/>
                  </a:cubicBezTo>
                  <a:cubicBezTo>
                    <a:pt x="234" y="402"/>
                    <a:pt x="241" y="403"/>
                    <a:pt x="247" y="403"/>
                  </a:cubicBezTo>
                  <a:cubicBezTo>
                    <a:pt x="1719" y="403"/>
                    <a:pt x="1719" y="403"/>
                    <a:pt x="1719" y="403"/>
                  </a:cubicBezTo>
                  <a:cubicBezTo>
                    <a:pt x="1787" y="403"/>
                    <a:pt x="1843" y="347"/>
                    <a:pt x="1843" y="279"/>
                  </a:cubicBezTo>
                  <a:cubicBezTo>
                    <a:pt x="1843" y="209"/>
                    <a:pt x="1843" y="209"/>
                    <a:pt x="1843" y="209"/>
                  </a:cubicBezTo>
                  <a:cubicBezTo>
                    <a:pt x="1843" y="140"/>
                    <a:pt x="1787" y="85"/>
                    <a:pt x="1719" y="85"/>
                  </a:cubicBezTo>
                  <a:close/>
                </a:path>
              </a:pathLst>
            </a:custGeom>
            <a:solidFill>
              <a:srgbClr val="FED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59" name="任意多边形: 形状 159">
              <a:extLst>
                <a:ext uri="{FF2B5EF4-FFF2-40B4-BE49-F238E27FC236}">
                  <a16:creationId xmlns:a16="http://schemas.microsoft.com/office/drawing/2014/main" id="{570FEC94-EC04-EFFF-7DD7-494340AFA92B}"/>
                </a:ext>
              </a:extLst>
            </p:cNvPr>
            <p:cNvSpPr/>
            <p:nvPr/>
          </p:nvSpPr>
          <p:spPr bwMode="auto">
            <a:xfrm>
              <a:off x="815746" y="1813192"/>
              <a:ext cx="1459184" cy="1078038"/>
            </a:xfrm>
            <a:custGeom>
              <a:avLst/>
              <a:gdLst>
                <a:gd name="T0" fmla="*/ 485 w 485"/>
                <a:gd name="T1" fmla="*/ 85 h 472"/>
                <a:gd name="T2" fmla="*/ 247 w 485"/>
                <a:gd name="T3" fmla="*/ 85 h 472"/>
                <a:gd name="T4" fmla="*/ 228 w 485"/>
                <a:gd name="T5" fmla="*/ 86 h 472"/>
                <a:gd name="T6" fmla="*/ 228 w 485"/>
                <a:gd name="T7" fmla="*/ 42 h 472"/>
                <a:gd name="T8" fmla="*/ 175 w 485"/>
                <a:gd name="T9" fmla="*/ 22 h 472"/>
                <a:gd name="T10" fmla="*/ 9 w 485"/>
                <a:gd name="T11" fmla="*/ 225 h 472"/>
                <a:gd name="T12" fmla="*/ 9 w 485"/>
                <a:gd name="T13" fmla="*/ 263 h 472"/>
                <a:gd name="T14" fmla="*/ 175 w 485"/>
                <a:gd name="T15" fmla="*/ 465 h 472"/>
                <a:gd name="T16" fmla="*/ 182 w 485"/>
                <a:gd name="T17" fmla="*/ 472 h 472"/>
                <a:gd name="T18" fmla="*/ 485 w 485"/>
                <a:gd name="T19" fmla="*/ 8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5" h="472">
                  <a:moveTo>
                    <a:pt x="485" y="85"/>
                  </a:moveTo>
                  <a:cubicBezTo>
                    <a:pt x="247" y="85"/>
                    <a:pt x="247" y="85"/>
                    <a:pt x="247" y="85"/>
                  </a:cubicBezTo>
                  <a:cubicBezTo>
                    <a:pt x="241" y="85"/>
                    <a:pt x="234" y="86"/>
                    <a:pt x="228" y="86"/>
                  </a:cubicBezTo>
                  <a:cubicBezTo>
                    <a:pt x="228" y="42"/>
                    <a:pt x="228" y="42"/>
                    <a:pt x="228" y="42"/>
                  </a:cubicBezTo>
                  <a:cubicBezTo>
                    <a:pt x="228" y="13"/>
                    <a:pt x="193" y="0"/>
                    <a:pt x="175" y="22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0" y="236"/>
                    <a:pt x="0" y="252"/>
                    <a:pt x="9" y="263"/>
                  </a:cubicBezTo>
                  <a:cubicBezTo>
                    <a:pt x="175" y="465"/>
                    <a:pt x="175" y="465"/>
                    <a:pt x="175" y="465"/>
                  </a:cubicBezTo>
                  <a:cubicBezTo>
                    <a:pt x="177" y="468"/>
                    <a:pt x="179" y="470"/>
                    <a:pt x="182" y="472"/>
                  </a:cubicBezTo>
                  <a:cubicBezTo>
                    <a:pt x="221" y="334"/>
                    <a:pt x="304" y="173"/>
                    <a:pt x="485" y="8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76200" dist="38100" algn="l" rotWithShape="0">
                <a:schemeClr val="tx2">
                  <a:alpha val="50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>
                <a:cs typeface="+mn-ea"/>
                <a:sym typeface="+mn-lt"/>
              </a:endParaRP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BF869B79-52C3-6AFF-92BB-9D8639B78B9F}"/>
                </a:ext>
              </a:extLst>
            </p:cNvPr>
            <p:cNvSpPr/>
            <p:nvPr/>
          </p:nvSpPr>
          <p:spPr>
            <a:xfrm>
              <a:off x="2138228" y="2117345"/>
              <a:ext cx="4624783" cy="433570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Expected Results and Innovation Points</a:t>
              </a:r>
            </a:p>
          </p:txBody>
        </p:sp>
        <p:sp>
          <p:nvSpPr>
            <p:cNvPr id="61" name="任意多边形: 形状 162">
              <a:extLst>
                <a:ext uri="{FF2B5EF4-FFF2-40B4-BE49-F238E27FC236}">
                  <a16:creationId xmlns:a16="http://schemas.microsoft.com/office/drawing/2014/main" id="{8C1A7E9D-298F-837C-B359-5AC5BA7B9A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46210" y="2262496"/>
              <a:ext cx="273406" cy="232954"/>
            </a:xfrm>
            <a:custGeom>
              <a:avLst/>
              <a:gdLst>
                <a:gd name="connsiteX0" fmla="*/ 351345 w 606227"/>
                <a:gd name="connsiteY0" fmla="*/ 426074 h 533192"/>
                <a:gd name="connsiteX1" fmla="*/ 407490 w 606227"/>
                <a:gd name="connsiteY1" fmla="*/ 426074 h 533192"/>
                <a:gd name="connsiteX2" fmla="*/ 446467 w 606227"/>
                <a:gd name="connsiteY2" fmla="*/ 533192 h 533192"/>
                <a:gd name="connsiteX3" fmla="*/ 390229 w 606227"/>
                <a:gd name="connsiteY3" fmla="*/ 533192 h 533192"/>
                <a:gd name="connsiteX4" fmla="*/ 198757 w 606227"/>
                <a:gd name="connsiteY4" fmla="*/ 426074 h 533192"/>
                <a:gd name="connsiteX5" fmla="*/ 255023 w 606227"/>
                <a:gd name="connsiteY5" fmla="*/ 426074 h 533192"/>
                <a:gd name="connsiteX6" fmla="*/ 216119 w 606227"/>
                <a:gd name="connsiteY6" fmla="*/ 533192 h 533192"/>
                <a:gd name="connsiteX7" fmla="*/ 159760 w 606227"/>
                <a:gd name="connsiteY7" fmla="*/ 533192 h 533192"/>
                <a:gd name="connsiteX8" fmla="*/ 304170 w 606227"/>
                <a:gd name="connsiteY8" fmla="*/ 146113 h 533192"/>
                <a:gd name="connsiteX9" fmla="*/ 292193 w 606227"/>
                <a:gd name="connsiteY9" fmla="*/ 158070 h 533192"/>
                <a:gd name="connsiteX10" fmla="*/ 292193 w 606227"/>
                <a:gd name="connsiteY10" fmla="*/ 298304 h 533192"/>
                <a:gd name="connsiteX11" fmla="*/ 248833 w 606227"/>
                <a:gd name="connsiteY11" fmla="*/ 298304 h 533192"/>
                <a:gd name="connsiteX12" fmla="*/ 248833 w 606227"/>
                <a:gd name="connsiteY12" fmla="*/ 220448 h 533192"/>
                <a:gd name="connsiteX13" fmla="*/ 236856 w 606227"/>
                <a:gd name="connsiteY13" fmla="*/ 208491 h 533192"/>
                <a:gd name="connsiteX14" fmla="*/ 224786 w 606227"/>
                <a:gd name="connsiteY14" fmla="*/ 220448 h 533192"/>
                <a:gd name="connsiteX15" fmla="*/ 224786 w 606227"/>
                <a:gd name="connsiteY15" fmla="*/ 297841 h 533192"/>
                <a:gd name="connsiteX16" fmla="*/ 190153 w 606227"/>
                <a:gd name="connsiteY16" fmla="*/ 297841 h 533192"/>
                <a:gd name="connsiteX17" fmla="*/ 178176 w 606227"/>
                <a:gd name="connsiteY17" fmla="*/ 309797 h 533192"/>
                <a:gd name="connsiteX18" fmla="*/ 190153 w 606227"/>
                <a:gd name="connsiteY18" fmla="*/ 321846 h 533192"/>
                <a:gd name="connsiteX19" fmla="*/ 418187 w 606227"/>
                <a:gd name="connsiteY19" fmla="*/ 321846 h 533192"/>
                <a:gd name="connsiteX20" fmla="*/ 430165 w 606227"/>
                <a:gd name="connsiteY20" fmla="*/ 309797 h 533192"/>
                <a:gd name="connsiteX21" fmla="*/ 418187 w 606227"/>
                <a:gd name="connsiteY21" fmla="*/ 297841 h 533192"/>
                <a:gd name="connsiteX22" fmla="*/ 383555 w 606227"/>
                <a:gd name="connsiteY22" fmla="*/ 297841 h 533192"/>
                <a:gd name="connsiteX23" fmla="*/ 383555 w 606227"/>
                <a:gd name="connsiteY23" fmla="*/ 186339 h 533192"/>
                <a:gd name="connsiteX24" fmla="*/ 371485 w 606227"/>
                <a:gd name="connsiteY24" fmla="*/ 174382 h 533192"/>
                <a:gd name="connsiteX25" fmla="*/ 359508 w 606227"/>
                <a:gd name="connsiteY25" fmla="*/ 186339 h 533192"/>
                <a:gd name="connsiteX26" fmla="*/ 359508 w 606227"/>
                <a:gd name="connsiteY26" fmla="*/ 297841 h 533192"/>
                <a:gd name="connsiteX27" fmla="*/ 316148 w 606227"/>
                <a:gd name="connsiteY27" fmla="*/ 297841 h 533192"/>
                <a:gd name="connsiteX28" fmla="*/ 316148 w 606227"/>
                <a:gd name="connsiteY28" fmla="*/ 158070 h 533192"/>
                <a:gd name="connsiteX29" fmla="*/ 304170 w 606227"/>
                <a:gd name="connsiteY29" fmla="*/ 146113 h 533192"/>
                <a:gd name="connsiteX30" fmla="*/ 47632 w 606227"/>
                <a:gd name="connsiteY30" fmla="*/ 64920 h 533192"/>
                <a:gd name="connsiteX31" fmla="*/ 558666 w 606227"/>
                <a:gd name="connsiteY31" fmla="*/ 64920 h 533192"/>
                <a:gd name="connsiteX32" fmla="*/ 558666 w 606227"/>
                <a:gd name="connsiteY32" fmla="*/ 335749 h 533192"/>
                <a:gd name="connsiteX33" fmla="*/ 498036 w 606227"/>
                <a:gd name="connsiteY33" fmla="*/ 396366 h 533192"/>
                <a:gd name="connsiteX34" fmla="*/ 108354 w 606227"/>
                <a:gd name="connsiteY34" fmla="*/ 396366 h 533192"/>
                <a:gd name="connsiteX35" fmla="*/ 47632 w 606227"/>
                <a:gd name="connsiteY35" fmla="*/ 335749 h 533192"/>
                <a:gd name="connsiteX36" fmla="*/ 0 w 606227"/>
                <a:gd name="connsiteY36" fmla="*/ 0 h 533192"/>
                <a:gd name="connsiteX37" fmla="*/ 606227 w 606227"/>
                <a:gd name="connsiteY37" fmla="*/ 0 h 533192"/>
                <a:gd name="connsiteX38" fmla="*/ 606227 w 606227"/>
                <a:gd name="connsiteY38" fmla="*/ 35565 h 533192"/>
                <a:gd name="connsiteX39" fmla="*/ 0 w 606227"/>
                <a:gd name="connsiteY39" fmla="*/ 35565 h 53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6227" h="533192">
                  <a:moveTo>
                    <a:pt x="351345" y="426074"/>
                  </a:moveTo>
                  <a:lnTo>
                    <a:pt x="407490" y="426074"/>
                  </a:lnTo>
                  <a:lnTo>
                    <a:pt x="446467" y="533192"/>
                  </a:lnTo>
                  <a:lnTo>
                    <a:pt x="390229" y="533192"/>
                  </a:lnTo>
                  <a:close/>
                  <a:moveTo>
                    <a:pt x="198757" y="426074"/>
                  </a:moveTo>
                  <a:lnTo>
                    <a:pt x="255023" y="426074"/>
                  </a:lnTo>
                  <a:lnTo>
                    <a:pt x="216119" y="533192"/>
                  </a:lnTo>
                  <a:lnTo>
                    <a:pt x="159760" y="533192"/>
                  </a:lnTo>
                  <a:close/>
                  <a:moveTo>
                    <a:pt x="304170" y="146113"/>
                  </a:moveTo>
                  <a:cubicBezTo>
                    <a:pt x="297485" y="146113"/>
                    <a:pt x="292193" y="151396"/>
                    <a:pt x="292193" y="158070"/>
                  </a:cubicBezTo>
                  <a:lnTo>
                    <a:pt x="292193" y="298304"/>
                  </a:lnTo>
                  <a:lnTo>
                    <a:pt x="248833" y="298304"/>
                  </a:lnTo>
                  <a:lnTo>
                    <a:pt x="248833" y="220448"/>
                  </a:lnTo>
                  <a:cubicBezTo>
                    <a:pt x="248833" y="213774"/>
                    <a:pt x="243541" y="208491"/>
                    <a:pt x="236856" y="208491"/>
                  </a:cubicBezTo>
                  <a:cubicBezTo>
                    <a:pt x="230171" y="208491"/>
                    <a:pt x="224786" y="213774"/>
                    <a:pt x="224786" y="220448"/>
                  </a:cubicBezTo>
                  <a:lnTo>
                    <a:pt x="224786" y="297841"/>
                  </a:lnTo>
                  <a:lnTo>
                    <a:pt x="190153" y="297841"/>
                  </a:lnTo>
                  <a:cubicBezTo>
                    <a:pt x="183375" y="297841"/>
                    <a:pt x="177990" y="303031"/>
                    <a:pt x="178176" y="309797"/>
                  </a:cubicBezTo>
                  <a:cubicBezTo>
                    <a:pt x="178176" y="316470"/>
                    <a:pt x="183468" y="321846"/>
                    <a:pt x="190153" y="321846"/>
                  </a:cubicBezTo>
                  <a:lnTo>
                    <a:pt x="418187" y="321846"/>
                  </a:lnTo>
                  <a:cubicBezTo>
                    <a:pt x="424872" y="321846"/>
                    <a:pt x="430165" y="316470"/>
                    <a:pt x="430165" y="309797"/>
                  </a:cubicBezTo>
                  <a:cubicBezTo>
                    <a:pt x="430165" y="303124"/>
                    <a:pt x="424872" y="297841"/>
                    <a:pt x="418187" y="297841"/>
                  </a:cubicBezTo>
                  <a:lnTo>
                    <a:pt x="383555" y="297841"/>
                  </a:lnTo>
                  <a:lnTo>
                    <a:pt x="383555" y="186339"/>
                  </a:lnTo>
                  <a:cubicBezTo>
                    <a:pt x="383555" y="179666"/>
                    <a:pt x="378170" y="174382"/>
                    <a:pt x="371485" y="174382"/>
                  </a:cubicBezTo>
                  <a:cubicBezTo>
                    <a:pt x="364800" y="174382"/>
                    <a:pt x="359508" y="179666"/>
                    <a:pt x="359508" y="186339"/>
                  </a:cubicBezTo>
                  <a:lnTo>
                    <a:pt x="359508" y="297841"/>
                  </a:lnTo>
                  <a:lnTo>
                    <a:pt x="316148" y="297841"/>
                  </a:lnTo>
                  <a:lnTo>
                    <a:pt x="316148" y="158070"/>
                  </a:lnTo>
                  <a:cubicBezTo>
                    <a:pt x="316148" y="151396"/>
                    <a:pt x="310855" y="146113"/>
                    <a:pt x="304170" y="146113"/>
                  </a:cubicBezTo>
                  <a:close/>
                  <a:moveTo>
                    <a:pt x="47632" y="64920"/>
                  </a:moveTo>
                  <a:lnTo>
                    <a:pt x="558666" y="64920"/>
                  </a:lnTo>
                  <a:lnTo>
                    <a:pt x="558666" y="335749"/>
                  </a:lnTo>
                  <a:cubicBezTo>
                    <a:pt x="558666" y="369394"/>
                    <a:pt x="531740" y="396366"/>
                    <a:pt x="498036" y="396366"/>
                  </a:cubicBezTo>
                  <a:lnTo>
                    <a:pt x="108354" y="396366"/>
                  </a:lnTo>
                  <a:cubicBezTo>
                    <a:pt x="74651" y="396366"/>
                    <a:pt x="47632" y="369394"/>
                    <a:pt x="47632" y="335749"/>
                  </a:cubicBezTo>
                  <a:close/>
                  <a:moveTo>
                    <a:pt x="0" y="0"/>
                  </a:moveTo>
                  <a:lnTo>
                    <a:pt x="606227" y="0"/>
                  </a:lnTo>
                  <a:lnTo>
                    <a:pt x="606227" y="35565"/>
                  </a:lnTo>
                  <a:lnTo>
                    <a:pt x="0" y="355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FD7CBBA-D348-8A65-DA67-3123E1D7B73B}"/>
                </a:ext>
              </a:extLst>
            </p:cNvPr>
            <p:cNvSpPr/>
            <p:nvPr/>
          </p:nvSpPr>
          <p:spPr>
            <a:xfrm>
              <a:off x="1086634" y="2098258"/>
              <a:ext cx="790364" cy="235982"/>
            </a:xfrm>
            <a:prstGeom prst="rect">
              <a:avLst/>
            </a:prstGeom>
            <a:noFill/>
          </p:spPr>
          <p:txBody>
            <a:bodyPr wrap="square" lIns="90000" tIns="90000" rIns="90000" bIns="90000" anchor="t" anchorCtr="0">
              <a:noAutofit/>
            </a:bodyPr>
            <a:lstStyle/>
            <a:p>
              <a:pPr lvl="0">
                <a:defRPr/>
              </a:pPr>
              <a:r>
                <a:rPr lang="en-US" altLang="zh-CN" b="1" dirty="0">
                  <a:solidFill>
                    <a:schemeClr val="bg2"/>
                  </a:solidFill>
                  <a:cs typeface="+mn-ea"/>
                  <a:sym typeface="+mn-lt"/>
                </a:rPr>
                <a:t>05</a:t>
              </a: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grpSp>
        <p:nvGrpSpPr>
          <p:cNvPr id="1406" name="组合 1405"/>
          <p:cNvGrpSpPr/>
          <p:nvPr/>
        </p:nvGrpSpPr>
        <p:grpSpPr>
          <a:xfrm>
            <a:off x="1038116" y="1482903"/>
            <a:ext cx="3373457" cy="4663907"/>
            <a:chOff x="1145941" y="1082785"/>
            <a:chExt cx="3697262" cy="5111529"/>
          </a:xfrm>
          <a:solidFill>
            <a:schemeClr val="accent2">
              <a:lumMod val="85000"/>
            </a:schemeClr>
          </a:solidFill>
        </p:grpSpPr>
        <p:sp>
          <p:nvSpPr>
            <p:cNvPr id="1425" name="任意多边形: 形状 1424"/>
            <p:cNvSpPr/>
            <p:nvPr>
              <p:custDataLst>
                <p:tags r:id="rId17"/>
              </p:custDataLst>
            </p:nvPr>
          </p:nvSpPr>
          <p:spPr bwMode="auto">
            <a:xfrm flipH="1">
              <a:off x="3382534" y="5589115"/>
              <a:ext cx="272622" cy="219213"/>
            </a:xfrm>
            <a:custGeom>
              <a:avLst/>
              <a:gdLst>
                <a:gd name="T0" fmla="*/ 31 w 299"/>
                <a:gd name="T1" fmla="*/ 255 h 255"/>
                <a:gd name="T2" fmla="*/ 83 w 299"/>
                <a:gd name="T3" fmla="*/ 198 h 255"/>
                <a:gd name="T4" fmla="*/ 299 w 299"/>
                <a:gd name="T5" fmla="*/ 198 h 255"/>
                <a:gd name="T6" fmla="*/ 299 w 299"/>
                <a:gd name="T7" fmla="*/ 139 h 255"/>
                <a:gd name="T8" fmla="*/ 105 w 299"/>
                <a:gd name="T9" fmla="*/ 139 h 255"/>
                <a:gd name="T10" fmla="*/ 93 w 299"/>
                <a:gd name="T11" fmla="*/ 139 h 255"/>
                <a:gd name="T12" fmla="*/ 93 w 299"/>
                <a:gd name="T13" fmla="*/ 130 h 255"/>
                <a:gd name="T14" fmla="*/ 93 w 299"/>
                <a:gd name="T15" fmla="*/ 0 h 255"/>
                <a:gd name="T16" fmla="*/ 0 w 299"/>
                <a:gd name="T17" fmla="*/ 0 h 255"/>
                <a:gd name="T18" fmla="*/ 0 w 299"/>
                <a:gd name="T19" fmla="*/ 198 h 255"/>
                <a:gd name="T20" fmla="*/ 31 w 299"/>
                <a:gd name="T21" fmla="*/ 198 h 255"/>
                <a:gd name="T22" fmla="*/ 31 w 299"/>
                <a:gd name="T2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9" h="255">
                  <a:moveTo>
                    <a:pt x="31" y="255"/>
                  </a:moveTo>
                  <a:lnTo>
                    <a:pt x="83" y="198"/>
                  </a:lnTo>
                  <a:lnTo>
                    <a:pt x="299" y="198"/>
                  </a:lnTo>
                  <a:lnTo>
                    <a:pt x="299" y="139"/>
                  </a:lnTo>
                  <a:lnTo>
                    <a:pt x="105" y="139"/>
                  </a:lnTo>
                  <a:lnTo>
                    <a:pt x="93" y="139"/>
                  </a:lnTo>
                  <a:lnTo>
                    <a:pt x="93" y="130"/>
                  </a:lnTo>
                  <a:lnTo>
                    <a:pt x="93" y="0"/>
                  </a:lnTo>
                  <a:lnTo>
                    <a:pt x="0" y="0"/>
                  </a:lnTo>
                  <a:lnTo>
                    <a:pt x="0" y="198"/>
                  </a:lnTo>
                  <a:lnTo>
                    <a:pt x="31" y="198"/>
                  </a:lnTo>
                  <a:lnTo>
                    <a:pt x="31" y="25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26" name="任意多边形: 形状 1425"/>
            <p:cNvSpPr/>
            <p:nvPr>
              <p:custDataLst>
                <p:tags r:id="rId18"/>
              </p:custDataLst>
            </p:nvPr>
          </p:nvSpPr>
          <p:spPr bwMode="auto">
            <a:xfrm flipH="1">
              <a:off x="3276768" y="5521201"/>
              <a:ext cx="282651" cy="230388"/>
            </a:xfrm>
            <a:custGeom>
              <a:avLst/>
              <a:gdLst>
                <a:gd name="T0" fmla="*/ 310 w 310"/>
                <a:gd name="T1" fmla="*/ 0 h 268"/>
                <a:gd name="T2" fmla="*/ 0 w 310"/>
                <a:gd name="T3" fmla="*/ 0 h 268"/>
                <a:gd name="T4" fmla="*/ 0 w 310"/>
                <a:gd name="T5" fmla="*/ 79 h 268"/>
                <a:gd name="T6" fmla="*/ 0 w 310"/>
                <a:gd name="T7" fmla="*/ 209 h 268"/>
                <a:gd name="T8" fmla="*/ 194 w 310"/>
                <a:gd name="T9" fmla="*/ 209 h 268"/>
                <a:gd name="T10" fmla="*/ 222 w 310"/>
                <a:gd name="T11" fmla="*/ 209 h 268"/>
                <a:gd name="T12" fmla="*/ 277 w 310"/>
                <a:gd name="T13" fmla="*/ 268 h 268"/>
                <a:gd name="T14" fmla="*/ 277 w 310"/>
                <a:gd name="T15" fmla="*/ 209 h 268"/>
                <a:gd name="T16" fmla="*/ 310 w 310"/>
                <a:gd name="T17" fmla="*/ 209 h 268"/>
                <a:gd name="T18" fmla="*/ 310 w 310"/>
                <a:gd name="T1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0" h="268">
                  <a:moveTo>
                    <a:pt x="310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0" y="209"/>
                  </a:lnTo>
                  <a:lnTo>
                    <a:pt x="194" y="209"/>
                  </a:lnTo>
                  <a:lnTo>
                    <a:pt x="222" y="209"/>
                  </a:lnTo>
                  <a:lnTo>
                    <a:pt x="277" y="268"/>
                  </a:lnTo>
                  <a:lnTo>
                    <a:pt x="277" y="209"/>
                  </a:lnTo>
                  <a:lnTo>
                    <a:pt x="310" y="209"/>
                  </a:lnTo>
                  <a:lnTo>
                    <a:pt x="310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27" name="任意多边形: 形状 1426"/>
            <p:cNvSpPr/>
            <p:nvPr>
              <p:custDataLst>
                <p:tags r:id="rId19"/>
              </p:custDataLst>
            </p:nvPr>
          </p:nvSpPr>
          <p:spPr bwMode="auto">
            <a:xfrm flipH="1">
              <a:off x="3961515" y="3079772"/>
              <a:ext cx="331888" cy="311196"/>
            </a:xfrm>
            <a:custGeom>
              <a:avLst/>
              <a:gdLst>
                <a:gd name="T0" fmla="*/ 151 w 154"/>
                <a:gd name="T1" fmla="*/ 59 h 153"/>
                <a:gd name="T2" fmla="*/ 120 w 154"/>
                <a:gd name="T3" fmla="*/ 72 h 153"/>
                <a:gd name="T4" fmla="*/ 108 w 154"/>
                <a:gd name="T5" fmla="*/ 72 h 153"/>
                <a:gd name="T6" fmla="*/ 102 w 154"/>
                <a:gd name="T7" fmla="*/ 57 h 153"/>
                <a:gd name="T8" fmla="*/ 111 w 154"/>
                <a:gd name="T9" fmla="*/ 49 h 153"/>
                <a:gd name="T10" fmla="*/ 142 w 154"/>
                <a:gd name="T11" fmla="*/ 36 h 153"/>
                <a:gd name="T12" fmla="*/ 128 w 154"/>
                <a:gd name="T13" fmla="*/ 19 h 153"/>
                <a:gd name="T14" fmla="*/ 108 w 154"/>
                <a:gd name="T15" fmla="*/ 11 h 153"/>
                <a:gd name="T16" fmla="*/ 105 w 154"/>
                <a:gd name="T17" fmla="*/ 35 h 153"/>
                <a:gd name="T18" fmla="*/ 90 w 154"/>
                <a:gd name="T19" fmla="*/ 57 h 153"/>
                <a:gd name="T20" fmla="*/ 92 w 154"/>
                <a:gd name="T21" fmla="*/ 34 h 153"/>
                <a:gd name="T22" fmla="*/ 81 w 154"/>
                <a:gd name="T23" fmla="*/ 27 h 153"/>
                <a:gd name="T24" fmla="*/ 81 w 154"/>
                <a:gd name="T25" fmla="*/ 15 h 153"/>
                <a:gd name="T26" fmla="*/ 73 w 154"/>
                <a:gd name="T27" fmla="*/ 15 h 153"/>
                <a:gd name="T28" fmla="*/ 73 w 154"/>
                <a:gd name="T29" fmla="*/ 27 h 153"/>
                <a:gd name="T30" fmla="*/ 62 w 154"/>
                <a:gd name="T31" fmla="*/ 34 h 153"/>
                <a:gd name="T32" fmla="*/ 63 w 154"/>
                <a:gd name="T33" fmla="*/ 57 h 153"/>
                <a:gd name="T34" fmla="*/ 49 w 154"/>
                <a:gd name="T35" fmla="*/ 35 h 153"/>
                <a:gd name="T36" fmla="*/ 45 w 154"/>
                <a:gd name="T37" fmla="*/ 11 h 153"/>
                <a:gd name="T38" fmla="*/ 25 w 154"/>
                <a:gd name="T39" fmla="*/ 19 h 153"/>
                <a:gd name="T40" fmla="*/ 12 w 154"/>
                <a:gd name="T41" fmla="*/ 36 h 153"/>
                <a:gd name="T42" fmla="*/ 43 w 154"/>
                <a:gd name="T43" fmla="*/ 49 h 153"/>
                <a:gd name="T44" fmla="*/ 51 w 154"/>
                <a:gd name="T45" fmla="*/ 57 h 153"/>
                <a:gd name="T46" fmla="*/ 45 w 154"/>
                <a:gd name="T47" fmla="*/ 72 h 153"/>
                <a:gd name="T48" fmla="*/ 33 w 154"/>
                <a:gd name="T49" fmla="*/ 72 h 153"/>
                <a:gd name="T50" fmla="*/ 2 w 154"/>
                <a:gd name="T51" fmla="*/ 59 h 153"/>
                <a:gd name="T52" fmla="*/ 0 w 154"/>
                <a:gd name="T53" fmla="*/ 81 h 153"/>
                <a:gd name="T54" fmla="*/ 8 w 154"/>
                <a:gd name="T55" fmla="*/ 100 h 153"/>
                <a:gd name="T56" fmla="*/ 28 w 154"/>
                <a:gd name="T57" fmla="*/ 86 h 153"/>
                <a:gd name="T58" fmla="*/ 54 w 154"/>
                <a:gd name="T59" fmla="*/ 81 h 153"/>
                <a:gd name="T60" fmla="*/ 36 w 154"/>
                <a:gd name="T61" fmla="*/ 96 h 153"/>
                <a:gd name="T62" fmla="*/ 39 w 154"/>
                <a:gd name="T63" fmla="*/ 108 h 153"/>
                <a:gd name="T64" fmla="*/ 31 w 154"/>
                <a:gd name="T65" fmla="*/ 116 h 153"/>
                <a:gd name="T66" fmla="*/ 37 w 154"/>
                <a:gd name="T67" fmla="*/ 122 h 153"/>
                <a:gd name="T68" fmla="*/ 45 w 154"/>
                <a:gd name="T69" fmla="*/ 114 h 153"/>
                <a:gd name="T70" fmla="*/ 57 w 154"/>
                <a:gd name="T71" fmla="*/ 117 h 153"/>
                <a:gd name="T72" fmla="*/ 73 w 154"/>
                <a:gd name="T73" fmla="*/ 100 h 153"/>
                <a:gd name="T74" fmla="*/ 68 w 154"/>
                <a:gd name="T75" fmla="*/ 125 h 153"/>
                <a:gd name="T76" fmla="*/ 53 w 154"/>
                <a:gd name="T77" fmla="*/ 145 h 153"/>
                <a:gd name="T78" fmla="*/ 73 w 154"/>
                <a:gd name="T79" fmla="*/ 153 h 153"/>
                <a:gd name="T80" fmla="*/ 94 w 154"/>
                <a:gd name="T81" fmla="*/ 151 h 153"/>
                <a:gd name="T82" fmla="*/ 81 w 154"/>
                <a:gd name="T83" fmla="*/ 120 h 153"/>
                <a:gd name="T84" fmla="*/ 81 w 154"/>
                <a:gd name="T85" fmla="*/ 108 h 153"/>
                <a:gd name="T86" fmla="*/ 96 w 154"/>
                <a:gd name="T87" fmla="*/ 102 h 153"/>
                <a:gd name="T88" fmla="*/ 105 w 154"/>
                <a:gd name="T89" fmla="*/ 110 h 153"/>
                <a:gd name="T90" fmla="*/ 117 w 154"/>
                <a:gd name="T91" fmla="*/ 141 h 153"/>
                <a:gd name="T92" fmla="*/ 134 w 154"/>
                <a:gd name="T93" fmla="*/ 128 h 153"/>
                <a:gd name="T94" fmla="*/ 142 w 154"/>
                <a:gd name="T95" fmla="*/ 108 h 153"/>
                <a:gd name="T96" fmla="*/ 118 w 154"/>
                <a:gd name="T97" fmla="*/ 104 h 153"/>
                <a:gd name="T98" fmla="*/ 96 w 154"/>
                <a:gd name="T99" fmla="*/ 90 h 153"/>
                <a:gd name="T100" fmla="*/ 119 w 154"/>
                <a:gd name="T101" fmla="*/ 92 h 153"/>
                <a:gd name="T102" fmla="*/ 126 w 154"/>
                <a:gd name="T103" fmla="*/ 81 h 153"/>
                <a:gd name="T104" fmla="*/ 138 w 154"/>
                <a:gd name="T105" fmla="*/ 8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4" h="153">
                  <a:moveTo>
                    <a:pt x="154" y="72"/>
                  </a:moveTo>
                  <a:cubicBezTo>
                    <a:pt x="138" y="72"/>
                    <a:pt x="138" y="72"/>
                    <a:pt x="138" y="72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45" y="53"/>
                    <a:pt x="145" y="53"/>
                    <a:pt x="145" y="53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20" y="72"/>
                    <a:pt x="120" y="72"/>
                    <a:pt x="120" y="72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99" y="69"/>
                    <a:pt x="98" y="66"/>
                    <a:pt x="96" y="63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18" y="57"/>
                    <a:pt x="118" y="57"/>
                    <a:pt x="118" y="57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87" y="55"/>
                    <a:pt x="84" y="54"/>
                    <a:pt x="81" y="53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69" y="54"/>
                    <a:pt x="66" y="55"/>
                    <a:pt x="63" y="57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7" y="63"/>
                    <a:pt x="57" y="63"/>
                    <a:pt x="57" y="63"/>
                  </a:cubicBezTo>
                  <a:cubicBezTo>
                    <a:pt x="55" y="66"/>
                    <a:pt x="54" y="69"/>
                    <a:pt x="5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4"/>
                    <a:pt x="55" y="87"/>
                    <a:pt x="57" y="90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39" y="108"/>
                    <a:pt x="39" y="108"/>
                    <a:pt x="39" y="108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25" y="134"/>
                    <a:pt x="25" y="134"/>
                    <a:pt x="25" y="134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57" y="117"/>
                    <a:pt x="57" y="117"/>
                    <a:pt x="57" y="117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6" y="98"/>
                    <a:pt x="69" y="99"/>
                    <a:pt x="73" y="100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62" y="119"/>
                    <a:pt x="62" y="119"/>
                    <a:pt x="62" y="119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53" y="145"/>
                    <a:pt x="53" y="145"/>
                    <a:pt x="53" y="145"/>
                  </a:cubicBezTo>
                  <a:cubicBezTo>
                    <a:pt x="59" y="151"/>
                    <a:pt x="59" y="151"/>
                    <a:pt x="59" y="151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73" y="153"/>
                    <a:pt x="73" y="153"/>
                    <a:pt x="73" y="153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37"/>
                    <a:pt x="81" y="137"/>
                    <a:pt x="81" y="137"/>
                  </a:cubicBezTo>
                  <a:cubicBezTo>
                    <a:pt x="94" y="151"/>
                    <a:pt x="94" y="151"/>
                    <a:pt x="94" y="151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81" y="125"/>
                    <a:pt x="81" y="125"/>
                    <a:pt x="81" y="125"/>
                  </a:cubicBezTo>
                  <a:cubicBezTo>
                    <a:pt x="81" y="120"/>
                    <a:pt x="81" y="120"/>
                    <a:pt x="81" y="120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2" y="119"/>
                    <a:pt x="92" y="119"/>
                    <a:pt x="92" y="119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84" y="99"/>
                    <a:pt x="87" y="98"/>
                    <a:pt x="90" y="9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17"/>
                    <a:pt x="96" y="117"/>
                    <a:pt x="96" y="117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105" y="110"/>
                    <a:pt x="105" y="110"/>
                    <a:pt x="105" y="110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22"/>
                    <a:pt x="117" y="122"/>
                    <a:pt x="117" y="122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34" y="128"/>
                    <a:pt x="134" y="128"/>
                    <a:pt x="134" y="128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42" y="116"/>
                    <a:pt x="142" y="116"/>
                    <a:pt x="142" y="116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96" y="90"/>
                    <a:pt x="96" y="90"/>
                    <a:pt x="96" y="90"/>
                  </a:cubicBezTo>
                  <a:cubicBezTo>
                    <a:pt x="98" y="87"/>
                    <a:pt x="99" y="84"/>
                    <a:pt x="100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19" y="92"/>
                    <a:pt x="119" y="92"/>
                    <a:pt x="119" y="92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38" y="81"/>
                    <a:pt x="138" y="81"/>
                    <a:pt x="138" y="81"/>
                  </a:cubicBezTo>
                  <a:cubicBezTo>
                    <a:pt x="154" y="81"/>
                    <a:pt x="154" y="81"/>
                    <a:pt x="154" y="81"/>
                  </a:cubicBezTo>
                  <a:lnTo>
                    <a:pt x="154" y="7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28" name="椭圆 1427"/>
            <p:cNvSpPr/>
            <p:nvPr>
              <p:custDataLst>
                <p:tags r:id="rId20"/>
              </p:custDataLst>
            </p:nvPr>
          </p:nvSpPr>
          <p:spPr bwMode="auto">
            <a:xfrm flipH="1">
              <a:off x="2131574" y="5130916"/>
              <a:ext cx="249828" cy="23640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29" name="矩形 1428"/>
            <p:cNvSpPr/>
            <p:nvPr>
              <p:custDataLst>
                <p:tags r:id="rId21"/>
              </p:custDataLst>
            </p:nvPr>
          </p:nvSpPr>
          <p:spPr bwMode="auto">
            <a:xfrm flipH="1">
              <a:off x="2240987" y="5072460"/>
              <a:ext cx="30089" cy="4040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0" name="矩形 1429"/>
            <p:cNvSpPr/>
            <p:nvPr>
              <p:custDataLst>
                <p:tags r:id="rId22"/>
              </p:custDataLst>
            </p:nvPr>
          </p:nvSpPr>
          <p:spPr bwMode="auto">
            <a:xfrm flipH="1">
              <a:off x="2068661" y="5233216"/>
              <a:ext cx="45589" cy="3008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1" name="矩形 1430"/>
            <p:cNvSpPr/>
            <p:nvPr>
              <p:custDataLst>
                <p:tags r:id="rId23"/>
              </p:custDataLst>
            </p:nvPr>
          </p:nvSpPr>
          <p:spPr bwMode="auto">
            <a:xfrm flipH="1">
              <a:off x="2240987" y="5383656"/>
              <a:ext cx="30089" cy="4212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2" name="矩形 1431"/>
            <p:cNvSpPr/>
            <p:nvPr>
              <p:custDataLst>
                <p:tags r:id="rId24"/>
              </p:custDataLst>
            </p:nvPr>
          </p:nvSpPr>
          <p:spPr bwMode="auto">
            <a:xfrm flipH="1">
              <a:off x="2398725" y="5233216"/>
              <a:ext cx="45589" cy="3008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3" name="任意多边形: 形状 1432"/>
            <p:cNvSpPr/>
            <p:nvPr>
              <p:custDataLst>
                <p:tags r:id="rId25"/>
              </p:custDataLst>
            </p:nvPr>
          </p:nvSpPr>
          <p:spPr bwMode="auto">
            <a:xfrm flipH="1">
              <a:off x="2111514" y="5112864"/>
              <a:ext cx="53795" cy="50720"/>
            </a:xfrm>
            <a:custGeom>
              <a:avLst/>
              <a:gdLst>
                <a:gd name="T0" fmla="*/ 59 w 59"/>
                <a:gd name="T1" fmla="*/ 24 h 59"/>
                <a:gd name="T2" fmla="*/ 23 w 59"/>
                <a:gd name="T3" fmla="*/ 59 h 59"/>
                <a:gd name="T4" fmla="*/ 0 w 59"/>
                <a:gd name="T5" fmla="*/ 33 h 59"/>
                <a:gd name="T6" fmla="*/ 33 w 59"/>
                <a:gd name="T7" fmla="*/ 0 h 59"/>
                <a:gd name="T8" fmla="*/ 59 w 59"/>
                <a:gd name="T9" fmla="*/ 2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59" y="24"/>
                  </a:moveTo>
                  <a:lnTo>
                    <a:pt x="23" y="59"/>
                  </a:lnTo>
                  <a:lnTo>
                    <a:pt x="0" y="33"/>
                  </a:lnTo>
                  <a:lnTo>
                    <a:pt x="33" y="0"/>
                  </a:lnTo>
                  <a:lnTo>
                    <a:pt x="59" y="24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4" name="任意多边形: 形状 1433"/>
            <p:cNvSpPr/>
            <p:nvPr>
              <p:custDataLst>
                <p:tags r:id="rId26"/>
              </p:custDataLst>
            </p:nvPr>
          </p:nvSpPr>
          <p:spPr bwMode="auto">
            <a:xfrm flipH="1">
              <a:off x="2111514" y="5332936"/>
              <a:ext cx="53795" cy="50720"/>
            </a:xfrm>
            <a:custGeom>
              <a:avLst/>
              <a:gdLst>
                <a:gd name="T0" fmla="*/ 23 w 59"/>
                <a:gd name="T1" fmla="*/ 0 h 59"/>
                <a:gd name="T2" fmla="*/ 59 w 59"/>
                <a:gd name="T3" fmla="*/ 35 h 59"/>
                <a:gd name="T4" fmla="*/ 33 w 59"/>
                <a:gd name="T5" fmla="*/ 59 h 59"/>
                <a:gd name="T6" fmla="*/ 0 w 59"/>
                <a:gd name="T7" fmla="*/ 26 h 59"/>
                <a:gd name="T8" fmla="*/ 23 w 5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23" y="0"/>
                  </a:moveTo>
                  <a:lnTo>
                    <a:pt x="59" y="35"/>
                  </a:lnTo>
                  <a:lnTo>
                    <a:pt x="33" y="59"/>
                  </a:lnTo>
                  <a:lnTo>
                    <a:pt x="0" y="26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5" name="任意多边形: 形状 1434"/>
            <p:cNvSpPr/>
            <p:nvPr>
              <p:custDataLst>
                <p:tags r:id="rId27"/>
              </p:custDataLst>
            </p:nvPr>
          </p:nvSpPr>
          <p:spPr bwMode="auto">
            <a:xfrm flipH="1">
              <a:off x="2346753" y="5332936"/>
              <a:ext cx="53795" cy="50720"/>
            </a:xfrm>
            <a:custGeom>
              <a:avLst/>
              <a:gdLst>
                <a:gd name="T0" fmla="*/ 35 w 59"/>
                <a:gd name="T1" fmla="*/ 0 h 59"/>
                <a:gd name="T2" fmla="*/ 59 w 59"/>
                <a:gd name="T3" fmla="*/ 26 h 59"/>
                <a:gd name="T4" fmla="*/ 26 w 59"/>
                <a:gd name="T5" fmla="*/ 59 h 59"/>
                <a:gd name="T6" fmla="*/ 0 w 59"/>
                <a:gd name="T7" fmla="*/ 35 h 59"/>
                <a:gd name="T8" fmla="*/ 35 w 5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35" y="0"/>
                  </a:moveTo>
                  <a:lnTo>
                    <a:pt x="59" y="26"/>
                  </a:lnTo>
                  <a:lnTo>
                    <a:pt x="26" y="59"/>
                  </a:lnTo>
                  <a:lnTo>
                    <a:pt x="0" y="3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6" name="任意多边形: 形状 1435"/>
            <p:cNvSpPr/>
            <p:nvPr>
              <p:custDataLst>
                <p:tags r:id="rId28"/>
              </p:custDataLst>
            </p:nvPr>
          </p:nvSpPr>
          <p:spPr bwMode="auto">
            <a:xfrm flipH="1">
              <a:off x="2346753" y="5112864"/>
              <a:ext cx="53795" cy="50720"/>
            </a:xfrm>
            <a:custGeom>
              <a:avLst/>
              <a:gdLst>
                <a:gd name="T0" fmla="*/ 59 w 59"/>
                <a:gd name="T1" fmla="*/ 33 h 59"/>
                <a:gd name="T2" fmla="*/ 35 w 59"/>
                <a:gd name="T3" fmla="*/ 59 h 59"/>
                <a:gd name="T4" fmla="*/ 0 w 59"/>
                <a:gd name="T5" fmla="*/ 24 h 59"/>
                <a:gd name="T6" fmla="*/ 26 w 59"/>
                <a:gd name="T7" fmla="*/ 0 h 59"/>
                <a:gd name="T8" fmla="*/ 59 w 59"/>
                <a:gd name="T9" fmla="*/ 3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59" y="33"/>
                  </a:moveTo>
                  <a:lnTo>
                    <a:pt x="35" y="59"/>
                  </a:lnTo>
                  <a:lnTo>
                    <a:pt x="0" y="24"/>
                  </a:lnTo>
                  <a:lnTo>
                    <a:pt x="26" y="0"/>
                  </a:lnTo>
                  <a:lnTo>
                    <a:pt x="59" y="33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7" name="任意多边形: 形状 1436"/>
            <p:cNvSpPr/>
            <p:nvPr>
              <p:custDataLst>
                <p:tags r:id="rId29"/>
              </p:custDataLst>
            </p:nvPr>
          </p:nvSpPr>
          <p:spPr bwMode="auto">
            <a:xfrm flipH="1">
              <a:off x="2169868" y="5078478"/>
              <a:ext cx="47413" cy="50720"/>
            </a:xfrm>
            <a:custGeom>
              <a:avLst/>
              <a:gdLst>
                <a:gd name="T0" fmla="*/ 52 w 52"/>
                <a:gd name="T1" fmla="*/ 14 h 59"/>
                <a:gd name="T2" fmla="*/ 33 w 52"/>
                <a:gd name="T3" fmla="*/ 59 h 59"/>
                <a:gd name="T4" fmla="*/ 0 w 52"/>
                <a:gd name="T5" fmla="*/ 45 h 59"/>
                <a:gd name="T6" fmla="*/ 19 w 52"/>
                <a:gd name="T7" fmla="*/ 0 h 59"/>
                <a:gd name="T8" fmla="*/ 52 w 52"/>
                <a:gd name="T9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9">
                  <a:moveTo>
                    <a:pt x="52" y="14"/>
                  </a:moveTo>
                  <a:lnTo>
                    <a:pt x="33" y="59"/>
                  </a:lnTo>
                  <a:lnTo>
                    <a:pt x="0" y="45"/>
                  </a:lnTo>
                  <a:lnTo>
                    <a:pt x="19" y="0"/>
                  </a:lnTo>
                  <a:lnTo>
                    <a:pt x="52" y="1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8" name="任意多边形: 形状 1437"/>
            <p:cNvSpPr/>
            <p:nvPr>
              <p:custDataLst>
                <p:tags r:id="rId30"/>
              </p:custDataLst>
            </p:nvPr>
          </p:nvSpPr>
          <p:spPr bwMode="auto">
            <a:xfrm flipH="1">
              <a:off x="2076866" y="5285655"/>
              <a:ext cx="51972" cy="42983"/>
            </a:xfrm>
            <a:custGeom>
              <a:avLst/>
              <a:gdLst>
                <a:gd name="T0" fmla="*/ 12 w 57"/>
                <a:gd name="T1" fmla="*/ 0 h 50"/>
                <a:gd name="T2" fmla="*/ 57 w 57"/>
                <a:gd name="T3" fmla="*/ 19 h 50"/>
                <a:gd name="T4" fmla="*/ 45 w 57"/>
                <a:gd name="T5" fmla="*/ 50 h 50"/>
                <a:gd name="T6" fmla="*/ 0 w 57"/>
                <a:gd name="T7" fmla="*/ 33 h 50"/>
                <a:gd name="T8" fmla="*/ 12 w 5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0">
                  <a:moveTo>
                    <a:pt x="12" y="0"/>
                  </a:moveTo>
                  <a:lnTo>
                    <a:pt x="57" y="19"/>
                  </a:lnTo>
                  <a:lnTo>
                    <a:pt x="45" y="50"/>
                  </a:lnTo>
                  <a:lnTo>
                    <a:pt x="0" y="33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39" name="任意多边形: 形状 1438"/>
            <p:cNvSpPr/>
            <p:nvPr>
              <p:custDataLst>
                <p:tags r:id="rId31"/>
              </p:custDataLst>
            </p:nvPr>
          </p:nvSpPr>
          <p:spPr bwMode="auto">
            <a:xfrm flipH="1">
              <a:off x="2294782" y="5367323"/>
              <a:ext cx="47413" cy="50720"/>
            </a:xfrm>
            <a:custGeom>
              <a:avLst/>
              <a:gdLst>
                <a:gd name="T0" fmla="*/ 52 w 52"/>
                <a:gd name="T1" fmla="*/ 14 h 59"/>
                <a:gd name="T2" fmla="*/ 33 w 52"/>
                <a:gd name="T3" fmla="*/ 59 h 59"/>
                <a:gd name="T4" fmla="*/ 0 w 52"/>
                <a:gd name="T5" fmla="*/ 45 h 59"/>
                <a:gd name="T6" fmla="*/ 18 w 52"/>
                <a:gd name="T7" fmla="*/ 0 h 59"/>
                <a:gd name="T8" fmla="*/ 52 w 52"/>
                <a:gd name="T9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9">
                  <a:moveTo>
                    <a:pt x="52" y="14"/>
                  </a:moveTo>
                  <a:lnTo>
                    <a:pt x="33" y="59"/>
                  </a:lnTo>
                  <a:lnTo>
                    <a:pt x="0" y="45"/>
                  </a:lnTo>
                  <a:lnTo>
                    <a:pt x="18" y="0"/>
                  </a:lnTo>
                  <a:lnTo>
                    <a:pt x="52" y="1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0" name="任意多边形: 形状 1439"/>
            <p:cNvSpPr/>
            <p:nvPr>
              <p:custDataLst>
                <p:tags r:id="rId32"/>
              </p:custDataLst>
            </p:nvPr>
          </p:nvSpPr>
          <p:spPr bwMode="auto">
            <a:xfrm flipH="1">
              <a:off x="2383225" y="5167882"/>
              <a:ext cx="51972" cy="42983"/>
            </a:xfrm>
            <a:custGeom>
              <a:avLst/>
              <a:gdLst>
                <a:gd name="T0" fmla="*/ 45 w 57"/>
                <a:gd name="T1" fmla="*/ 50 h 50"/>
                <a:gd name="T2" fmla="*/ 0 w 57"/>
                <a:gd name="T3" fmla="*/ 31 h 50"/>
                <a:gd name="T4" fmla="*/ 12 w 57"/>
                <a:gd name="T5" fmla="*/ 0 h 50"/>
                <a:gd name="T6" fmla="*/ 57 w 57"/>
                <a:gd name="T7" fmla="*/ 19 h 50"/>
                <a:gd name="T8" fmla="*/ 45 w 57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0">
                  <a:moveTo>
                    <a:pt x="45" y="50"/>
                  </a:moveTo>
                  <a:lnTo>
                    <a:pt x="0" y="31"/>
                  </a:lnTo>
                  <a:lnTo>
                    <a:pt x="12" y="0"/>
                  </a:lnTo>
                  <a:lnTo>
                    <a:pt x="57" y="19"/>
                  </a:lnTo>
                  <a:lnTo>
                    <a:pt x="45" y="5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1" name="任意多边形: 形状 1440"/>
            <p:cNvSpPr/>
            <p:nvPr>
              <p:custDataLst>
                <p:tags r:id="rId33"/>
              </p:custDataLst>
            </p:nvPr>
          </p:nvSpPr>
          <p:spPr bwMode="auto">
            <a:xfrm flipH="1">
              <a:off x="2076867" y="5166163"/>
              <a:ext cx="54707" cy="44702"/>
            </a:xfrm>
            <a:custGeom>
              <a:avLst/>
              <a:gdLst>
                <a:gd name="T0" fmla="*/ 0 w 60"/>
                <a:gd name="T1" fmla="*/ 18 h 52"/>
                <a:gd name="T2" fmla="*/ 45 w 60"/>
                <a:gd name="T3" fmla="*/ 0 h 52"/>
                <a:gd name="T4" fmla="*/ 60 w 60"/>
                <a:gd name="T5" fmla="*/ 33 h 52"/>
                <a:gd name="T6" fmla="*/ 15 w 60"/>
                <a:gd name="T7" fmla="*/ 52 h 52"/>
                <a:gd name="T8" fmla="*/ 0 w 60"/>
                <a:gd name="T9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2">
                  <a:moveTo>
                    <a:pt x="0" y="18"/>
                  </a:moveTo>
                  <a:lnTo>
                    <a:pt x="45" y="0"/>
                  </a:lnTo>
                  <a:lnTo>
                    <a:pt x="60" y="33"/>
                  </a:lnTo>
                  <a:lnTo>
                    <a:pt x="15" y="5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2" name="任意多边形: 形状 1441"/>
            <p:cNvSpPr/>
            <p:nvPr>
              <p:custDataLst>
                <p:tags r:id="rId34"/>
              </p:custDataLst>
            </p:nvPr>
          </p:nvSpPr>
          <p:spPr bwMode="auto">
            <a:xfrm flipH="1">
              <a:off x="2169868" y="5367323"/>
              <a:ext cx="45589" cy="50720"/>
            </a:xfrm>
            <a:custGeom>
              <a:avLst/>
              <a:gdLst>
                <a:gd name="T0" fmla="*/ 50 w 50"/>
                <a:gd name="T1" fmla="*/ 45 h 59"/>
                <a:gd name="T2" fmla="*/ 19 w 50"/>
                <a:gd name="T3" fmla="*/ 59 h 59"/>
                <a:gd name="T4" fmla="*/ 0 w 50"/>
                <a:gd name="T5" fmla="*/ 14 h 59"/>
                <a:gd name="T6" fmla="*/ 31 w 50"/>
                <a:gd name="T7" fmla="*/ 0 h 59"/>
                <a:gd name="T8" fmla="*/ 50 w 50"/>
                <a:gd name="T9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9">
                  <a:moveTo>
                    <a:pt x="50" y="45"/>
                  </a:moveTo>
                  <a:lnTo>
                    <a:pt x="19" y="59"/>
                  </a:lnTo>
                  <a:lnTo>
                    <a:pt x="0" y="14"/>
                  </a:lnTo>
                  <a:lnTo>
                    <a:pt x="31" y="0"/>
                  </a:lnTo>
                  <a:lnTo>
                    <a:pt x="50" y="4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3" name="任意多边形: 形状 1442"/>
            <p:cNvSpPr/>
            <p:nvPr>
              <p:custDataLst>
                <p:tags r:id="rId35"/>
              </p:custDataLst>
            </p:nvPr>
          </p:nvSpPr>
          <p:spPr bwMode="auto">
            <a:xfrm flipH="1">
              <a:off x="2381401" y="5285655"/>
              <a:ext cx="53795" cy="44702"/>
            </a:xfrm>
            <a:custGeom>
              <a:avLst/>
              <a:gdLst>
                <a:gd name="T0" fmla="*/ 59 w 59"/>
                <a:gd name="T1" fmla="*/ 33 h 52"/>
                <a:gd name="T2" fmla="*/ 14 w 59"/>
                <a:gd name="T3" fmla="*/ 52 h 52"/>
                <a:gd name="T4" fmla="*/ 0 w 59"/>
                <a:gd name="T5" fmla="*/ 19 h 52"/>
                <a:gd name="T6" fmla="*/ 45 w 59"/>
                <a:gd name="T7" fmla="*/ 0 h 52"/>
                <a:gd name="T8" fmla="*/ 59 w 59"/>
                <a:gd name="T9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2">
                  <a:moveTo>
                    <a:pt x="59" y="33"/>
                  </a:moveTo>
                  <a:lnTo>
                    <a:pt x="14" y="52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59" y="3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4" name="任意多边形: 形状 1443"/>
            <p:cNvSpPr/>
            <p:nvPr>
              <p:custDataLst>
                <p:tags r:id="rId36"/>
              </p:custDataLst>
            </p:nvPr>
          </p:nvSpPr>
          <p:spPr bwMode="auto">
            <a:xfrm flipH="1">
              <a:off x="2297517" y="5078478"/>
              <a:ext cx="44677" cy="50720"/>
            </a:xfrm>
            <a:custGeom>
              <a:avLst/>
              <a:gdLst>
                <a:gd name="T0" fmla="*/ 49 w 49"/>
                <a:gd name="T1" fmla="*/ 45 h 59"/>
                <a:gd name="T2" fmla="*/ 18 w 49"/>
                <a:gd name="T3" fmla="*/ 59 h 59"/>
                <a:gd name="T4" fmla="*/ 0 w 49"/>
                <a:gd name="T5" fmla="*/ 14 h 59"/>
                <a:gd name="T6" fmla="*/ 30 w 49"/>
                <a:gd name="T7" fmla="*/ 0 h 59"/>
                <a:gd name="T8" fmla="*/ 49 w 49"/>
                <a:gd name="T9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9">
                  <a:moveTo>
                    <a:pt x="49" y="45"/>
                  </a:moveTo>
                  <a:lnTo>
                    <a:pt x="18" y="59"/>
                  </a:lnTo>
                  <a:lnTo>
                    <a:pt x="0" y="14"/>
                  </a:lnTo>
                  <a:lnTo>
                    <a:pt x="30" y="0"/>
                  </a:lnTo>
                  <a:lnTo>
                    <a:pt x="49" y="4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5" name="任意多边形: 形状 1444"/>
            <p:cNvSpPr/>
            <p:nvPr>
              <p:custDataLst>
                <p:tags r:id="rId37"/>
              </p:custDataLst>
            </p:nvPr>
          </p:nvSpPr>
          <p:spPr bwMode="auto">
            <a:xfrm flipH="1">
              <a:off x="1766862" y="3182931"/>
              <a:ext cx="267152" cy="226090"/>
            </a:xfrm>
            <a:custGeom>
              <a:avLst/>
              <a:gdLst>
                <a:gd name="T0" fmla="*/ 13 w 124"/>
                <a:gd name="T1" fmla="*/ 11 h 111"/>
                <a:gd name="T2" fmla="*/ 1 w 124"/>
                <a:gd name="T3" fmla="*/ 33 h 111"/>
                <a:gd name="T4" fmla="*/ 0 w 124"/>
                <a:gd name="T5" fmla="*/ 40 h 111"/>
                <a:gd name="T6" fmla="*/ 0 w 124"/>
                <a:gd name="T7" fmla="*/ 41 h 111"/>
                <a:gd name="T8" fmla="*/ 0 w 124"/>
                <a:gd name="T9" fmla="*/ 47 h 111"/>
                <a:gd name="T10" fmla="*/ 1 w 124"/>
                <a:gd name="T11" fmla="*/ 52 h 111"/>
                <a:gd name="T12" fmla="*/ 5 w 124"/>
                <a:gd name="T13" fmla="*/ 72 h 111"/>
                <a:gd name="T14" fmla="*/ 19 w 124"/>
                <a:gd name="T15" fmla="*/ 97 h 111"/>
                <a:gd name="T16" fmla="*/ 19 w 124"/>
                <a:gd name="T17" fmla="*/ 97 h 111"/>
                <a:gd name="T18" fmla="*/ 27 w 124"/>
                <a:gd name="T19" fmla="*/ 106 h 111"/>
                <a:gd name="T20" fmla="*/ 30 w 124"/>
                <a:gd name="T21" fmla="*/ 108 h 111"/>
                <a:gd name="T22" fmla="*/ 43 w 124"/>
                <a:gd name="T23" fmla="*/ 110 h 111"/>
                <a:gd name="T24" fmla="*/ 44 w 124"/>
                <a:gd name="T25" fmla="*/ 109 h 111"/>
                <a:gd name="T26" fmla="*/ 50 w 124"/>
                <a:gd name="T27" fmla="*/ 107 h 111"/>
                <a:gd name="T28" fmla="*/ 54 w 124"/>
                <a:gd name="T29" fmla="*/ 106 h 111"/>
                <a:gd name="T30" fmla="*/ 62 w 124"/>
                <a:gd name="T31" fmla="*/ 105 h 111"/>
                <a:gd name="T32" fmla="*/ 62 w 124"/>
                <a:gd name="T33" fmla="*/ 105 h 111"/>
                <a:gd name="T34" fmla="*/ 70 w 124"/>
                <a:gd name="T35" fmla="*/ 106 h 111"/>
                <a:gd name="T36" fmla="*/ 74 w 124"/>
                <a:gd name="T37" fmla="*/ 107 h 111"/>
                <a:gd name="T38" fmla="*/ 81 w 124"/>
                <a:gd name="T39" fmla="*/ 109 h 111"/>
                <a:gd name="T40" fmla="*/ 81 w 124"/>
                <a:gd name="T41" fmla="*/ 110 h 111"/>
                <a:gd name="T42" fmla="*/ 94 w 124"/>
                <a:gd name="T43" fmla="*/ 108 h 111"/>
                <a:gd name="T44" fmla="*/ 97 w 124"/>
                <a:gd name="T45" fmla="*/ 106 h 111"/>
                <a:gd name="T46" fmla="*/ 105 w 124"/>
                <a:gd name="T47" fmla="*/ 97 h 111"/>
                <a:gd name="T48" fmla="*/ 105 w 124"/>
                <a:gd name="T49" fmla="*/ 97 h 111"/>
                <a:gd name="T50" fmla="*/ 119 w 124"/>
                <a:gd name="T51" fmla="*/ 72 h 111"/>
                <a:gd name="T52" fmla="*/ 124 w 124"/>
                <a:gd name="T53" fmla="*/ 52 h 111"/>
                <a:gd name="T54" fmla="*/ 124 w 124"/>
                <a:gd name="T55" fmla="*/ 47 h 111"/>
                <a:gd name="T56" fmla="*/ 124 w 124"/>
                <a:gd name="T57" fmla="*/ 41 h 111"/>
                <a:gd name="T58" fmla="*/ 124 w 124"/>
                <a:gd name="T59" fmla="*/ 40 h 111"/>
                <a:gd name="T60" fmla="*/ 123 w 124"/>
                <a:gd name="T61" fmla="*/ 33 h 111"/>
                <a:gd name="T62" fmla="*/ 111 w 124"/>
                <a:gd name="T63" fmla="*/ 11 h 111"/>
                <a:gd name="T64" fmla="*/ 109 w 124"/>
                <a:gd name="T65" fmla="*/ 8 h 111"/>
                <a:gd name="T66" fmla="*/ 91 w 124"/>
                <a:gd name="T67" fmla="*/ 1 h 111"/>
                <a:gd name="T68" fmla="*/ 72 w 124"/>
                <a:gd name="T69" fmla="*/ 3 h 111"/>
                <a:gd name="T70" fmla="*/ 62 w 124"/>
                <a:gd name="T71" fmla="*/ 7 h 111"/>
                <a:gd name="T72" fmla="*/ 52 w 124"/>
                <a:gd name="T73" fmla="*/ 3 h 111"/>
                <a:gd name="T74" fmla="*/ 33 w 124"/>
                <a:gd name="T75" fmla="*/ 1 h 111"/>
                <a:gd name="T76" fmla="*/ 15 w 124"/>
                <a:gd name="T77" fmla="*/ 8 h 111"/>
                <a:gd name="T78" fmla="*/ 13 w 124"/>
                <a:gd name="T79" fmla="*/ 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4" h="111">
                  <a:moveTo>
                    <a:pt x="13" y="11"/>
                  </a:moveTo>
                  <a:cubicBezTo>
                    <a:pt x="6" y="17"/>
                    <a:pt x="3" y="25"/>
                    <a:pt x="1" y="33"/>
                  </a:cubicBezTo>
                  <a:cubicBezTo>
                    <a:pt x="1" y="36"/>
                    <a:pt x="1" y="38"/>
                    <a:pt x="0" y="40"/>
                  </a:cubicBezTo>
                  <a:cubicBezTo>
                    <a:pt x="0" y="40"/>
                    <a:pt x="0" y="41"/>
                    <a:pt x="0" y="41"/>
                  </a:cubicBezTo>
                  <a:cubicBezTo>
                    <a:pt x="0" y="43"/>
                    <a:pt x="0" y="45"/>
                    <a:pt x="0" y="47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1" y="59"/>
                    <a:pt x="3" y="65"/>
                    <a:pt x="5" y="72"/>
                  </a:cubicBezTo>
                  <a:cubicBezTo>
                    <a:pt x="8" y="81"/>
                    <a:pt x="13" y="89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2" y="101"/>
                    <a:pt x="24" y="104"/>
                    <a:pt x="27" y="106"/>
                  </a:cubicBezTo>
                  <a:cubicBezTo>
                    <a:pt x="28" y="107"/>
                    <a:pt x="29" y="107"/>
                    <a:pt x="30" y="108"/>
                  </a:cubicBezTo>
                  <a:cubicBezTo>
                    <a:pt x="34" y="111"/>
                    <a:pt x="38" y="111"/>
                    <a:pt x="43" y="110"/>
                  </a:cubicBezTo>
                  <a:cubicBezTo>
                    <a:pt x="43" y="110"/>
                    <a:pt x="43" y="110"/>
                    <a:pt x="44" y="109"/>
                  </a:cubicBezTo>
                  <a:cubicBezTo>
                    <a:pt x="46" y="109"/>
                    <a:pt x="48" y="108"/>
                    <a:pt x="50" y="107"/>
                  </a:cubicBezTo>
                  <a:cubicBezTo>
                    <a:pt x="51" y="107"/>
                    <a:pt x="53" y="106"/>
                    <a:pt x="54" y="106"/>
                  </a:cubicBezTo>
                  <a:cubicBezTo>
                    <a:pt x="57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5" y="105"/>
                    <a:pt x="67" y="105"/>
                    <a:pt x="70" y="106"/>
                  </a:cubicBezTo>
                  <a:cubicBezTo>
                    <a:pt x="71" y="106"/>
                    <a:pt x="73" y="107"/>
                    <a:pt x="74" y="107"/>
                  </a:cubicBezTo>
                  <a:cubicBezTo>
                    <a:pt x="76" y="108"/>
                    <a:pt x="78" y="109"/>
                    <a:pt x="81" y="109"/>
                  </a:cubicBezTo>
                  <a:cubicBezTo>
                    <a:pt x="81" y="110"/>
                    <a:pt x="81" y="110"/>
                    <a:pt x="81" y="110"/>
                  </a:cubicBezTo>
                  <a:cubicBezTo>
                    <a:pt x="86" y="111"/>
                    <a:pt x="90" y="111"/>
                    <a:pt x="94" y="108"/>
                  </a:cubicBezTo>
                  <a:cubicBezTo>
                    <a:pt x="95" y="107"/>
                    <a:pt x="96" y="107"/>
                    <a:pt x="97" y="106"/>
                  </a:cubicBezTo>
                  <a:cubicBezTo>
                    <a:pt x="100" y="104"/>
                    <a:pt x="102" y="101"/>
                    <a:pt x="105" y="97"/>
                  </a:cubicBezTo>
                  <a:cubicBezTo>
                    <a:pt x="105" y="97"/>
                    <a:pt x="105" y="97"/>
                    <a:pt x="105" y="97"/>
                  </a:cubicBezTo>
                  <a:cubicBezTo>
                    <a:pt x="111" y="89"/>
                    <a:pt x="116" y="81"/>
                    <a:pt x="119" y="72"/>
                  </a:cubicBezTo>
                  <a:cubicBezTo>
                    <a:pt x="121" y="65"/>
                    <a:pt x="123" y="59"/>
                    <a:pt x="124" y="52"/>
                  </a:cubicBezTo>
                  <a:cubicBezTo>
                    <a:pt x="124" y="50"/>
                    <a:pt x="124" y="49"/>
                    <a:pt x="124" y="47"/>
                  </a:cubicBezTo>
                  <a:cubicBezTo>
                    <a:pt x="124" y="45"/>
                    <a:pt x="124" y="43"/>
                    <a:pt x="124" y="41"/>
                  </a:cubicBezTo>
                  <a:cubicBezTo>
                    <a:pt x="124" y="41"/>
                    <a:pt x="124" y="40"/>
                    <a:pt x="124" y="40"/>
                  </a:cubicBezTo>
                  <a:cubicBezTo>
                    <a:pt x="124" y="38"/>
                    <a:pt x="123" y="36"/>
                    <a:pt x="123" y="33"/>
                  </a:cubicBezTo>
                  <a:cubicBezTo>
                    <a:pt x="121" y="25"/>
                    <a:pt x="118" y="17"/>
                    <a:pt x="111" y="11"/>
                  </a:cubicBezTo>
                  <a:cubicBezTo>
                    <a:pt x="110" y="10"/>
                    <a:pt x="110" y="9"/>
                    <a:pt x="109" y="8"/>
                  </a:cubicBezTo>
                  <a:cubicBezTo>
                    <a:pt x="104" y="4"/>
                    <a:pt x="98" y="2"/>
                    <a:pt x="91" y="1"/>
                  </a:cubicBezTo>
                  <a:cubicBezTo>
                    <a:pt x="84" y="0"/>
                    <a:pt x="78" y="1"/>
                    <a:pt x="72" y="3"/>
                  </a:cubicBezTo>
                  <a:cubicBezTo>
                    <a:pt x="69" y="4"/>
                    <a:pt x="62" y="7"/>
                    <a:pt x="62" y="7"/>
                  </a:cubicBezTo>
                  <a:cubicBezTo>
                    <a:pt x="62" y="7"/>
                    <a:pt x="55" y="4"/>
                    <a:pt x="52" y="3"/>
                  </a:cubicBezTo>
                  <a:cubicBezTo>
                    <a:pt x="46" y="1"/>
                    <a:pt x="40" y="0"/>
                    <a:pt x="33" y="1"/>
                  </a:cubicBezTo>
                  <a:cubicBezTo>
                    <a:pt x="26" y="2"/>
                    <a:pt x="20" y="4"/>
                    <a:pt x="15" y="8"/>
                  </a:cubicBezTo>
                  <a:cubicBezTo>
                    <a:pt x="14" y="9"/>
                    <a:pt x="14" y="10"/>
                    <a:pt x="13" y="1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6" name="任意多边形: 形状 1445"/>
            <p:cNvSpPr/>
            <p:nvPr>
              <p:custDataLst>
                <p:tags r:id="rId38"/>
              </p:custDataLst>
            </p:nvPr>
          </p:nvSpPr>
          <p:spPr bwMode="auto">
            <a:xfrm flipH="1">
              <a:off x="1899981" y="3112439"/>
              <a:ext cx="62913" cy="68773"/>
            </a:xfrm>
            <a:custGeom>
              <a:avLst/>
              <a:gdLst>
                <a:gd name="T0" fmla="*/ 9 w 29"/>
                <a:gd name="T1" fmla="*/ 25 h 34"/>
                <a:gd name="T2" fmla="*/ 21 w 29"/>
                <a:gd name="T3" fmla="*/ 33 h 34"/>
                <a:gd name="T4" fmla="*/ 28 w 29"/>
                <a:gd name="T5" fmla="*/ 34 h 34"/>
                <a:gd name="T6" fmla="*/ 29 w 29"/>
                <a:gd name="T7" fmla="*/ 33 h 34"/>
                <a:gd name="T8" fmla="*/ 23 w 29"/>
                <a:gd name="T9" fmla="*/ 13 h 34"/>
                <a:gd name="T10" fmla="*/ 2 w 29"/>
                <a:gd name="T11" fmla="*/ 1 h 34"/>
                <a:gd name="T12" fmla="*/ 1 w 29"/>
                <a:gd name="T13" fmla="*/ 0 h 34"/>
                <a:gd name="T14" fmla="*/ 0 w 29"/>
                <a:gd name="T15" fmla="*/ 0 h 34"/>
                <a:gd name="T16" fmla="*/ 0 w 29"/>
                <a:gd name="T17" fmla="*/ 9 h 34"/>
                <a:gd name="T18" fmla="*/ 9 w 29"/>
                <a:gd name="T19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4">
                  <a:moveTo>
                    <a:pt x="9" y="25"/>
                  </a:moveTo>
                  <a:cubicBezTo>
                    <a:pt x="12" y="29"/>
                    <a:pt x="16" y="32"/>
                    <a:pt x="21" y="33"/>
                  </a:cubicBezTo>
                  <a:cubicBezTo>
                    <a:pt x="23" y="34"/>
                    <a:pt x="26" y="34"/>
                    <a:pt x="28" y="34"/>
                  </a:cubicBezTo>
                  <a:cubicBezTo>
                    <a:pt x="29" y="34"/>
                    <a:pt x="29" y="34"/>
                    <a:pt x="29" y="33"/>
                  </a:cubicBezTo>
                  <a:cubicBezTo>
                    <a:pt x="29" y="26"/>
                    <a:pt x="27" y="19"/>
                    <a:pt x="23" y="13"/>
                  </a:cubicBezTo>
                  <a:cubicBezTo>
                    <a:pt x="18" y="6"/>
                    <a:pt x="11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1" y="15"/>
                    <a:pt x="4" y="21"/>
                    <a:pt x="9" y="2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7" name="任意多边形: 形状 1446"/>
            <p:cNvSpPr/>
            <p:nvPr>
              <p:custDataLst>
                <p:tags r:id="rId39"/>
              </p:custDataLst>
            </p:nvPr>
          </p:nvSpPr>
          <p:spPr bwMode="auto">
            <a:xfrm flipH="1">
              <a:off x="3685245" y="3315318"/>
              <a:ext cx="146797" cy="288845"/>
            </a:xfrm>
            <a:custGeom>
              <a:avLst/>
              <a:gdLst>
                <a:gd name="T0" fmla="*/ 34 w 68"/>
                <a:gd name="T1" fmla="*/ 122 h 142"/>
                <a:gd name="T2" fmla="*/ 67 w 68"/>
                <a:gd name="T3" fmla="*/ 138 h 142"/>
                <a:gd name="T4" fmla="*/ 68 w 68"/>
                <a:gd name="T5" fmla="*/ 138 h 142"/>
                <a:gd name="T6" fmla="*/ 68 w 68"/>
                <a:gd name="T7" fmla="*/ 31 h 142"/>
                <a:gd name="T8" fmla="*/ 66 w 68"/>
                <a:gd name="T9" fmla="*/ 15 h 142"/>
                <a:gd name="T10" fmla="*/ 34 w 68"/>
                <a:gd name="T11" fmla="*/ 0 h 142"/>
                <a:gd name="T12" fmla="*/ 34 w 68"/>
                <a:gd name="T13" fmla="*/ 19 h 142"/>
                <a:gd name="T14" fmla="*/ 57 w 68"/>
                <a:gd name="T15" fmla="*/ 23 h 142"/>
                <a:gd name="T16" fmla="*/ 58 w 68"/>
                <a:gd name="T17" fmla="*/ 26 h 142"/>
                <a:gd name="T18" fmla="*/ 56 w 68"/>
                <a:gd name="T19" fmla="*/ 27 h 142"/>
                <a:gd name="T20" fmla="*/ 55 w 68"/>
                <a:gd name="T21" fmla="*/ 27 h 142"/>
                <a:gd name="T22" fmla="*/ 51 w 68"/>
                <a:gd name="T23" fmla="*/ 25 h 142"/>
                <a:gd name="T24" fmla="*/ 34 w 68"/>
                <a:gd name="T25" fmla="*/ 23 h 142"/>
                <a:gd name="T26" fmla="*/ 34 w 68"/>
                <a:gd name="T27" fmla="*/ 38 h 142"/>
                <a:gd name="T28" fmla="*/ 57 w 68"/>
                <a:gd name="T29" fmla="*/ 43 h 142"/>
                <a:gd name="T30" fmla="*/ 58 w 68"/>
                <a:gd name="T31" fmla="*/ 45 h 142"/>
                <a:gd name="T32" fmla="*/ 56 w 68"/>
                <a:gd name="T33" fmla="*/ 46 h 142"/>
                <a:gd name="T34" fmla="*/ 55 w 68"/>
                <a:gd name="T35" fmla="*/ 46 h 142"/>
                <a:gd name="T36" fmla="*/ 51 w 68"/>
                <a:gd name="T37" fmla="*/ 44 h 142"/>
                <a:gd name="T38" fmla="*/ 34 w 68"/>
                <a:gd name="T39" fmla="*/ 42 h 142"/>
                <a:gd name="T40" fmla="*/ 34 w 68"/>
                <a:gd name="T41" fmla="*/ 57 h 142"/>
                <a:gd name="T42" fmla="*/ 57 w 68"/>
                <a:gd name="T43" fmla="*/ 62 h 142"/>
                <a:gd name="T44" fmla="*/ 58 w 68"/>
                <a:gd name="T45" fmla="*/ 64 h 142"/>
                <a:gd name="T46" fmla="*/ 56 w 68"/>
                <a:gd name="T47" fmla="*/ 65 h 142"/>
                <a:gd name="T48" fmla="*/ 55 w 68"/>
                <a:gd name="T49" fmla="*/ 65 h 142"/>
                <a:gd name="T50" fmla="*/ 51 w 68"/>
                <a:gd name="T51" fmla="*/ 63 h 142"/>
                <a:gd name="T52" fmla="*/ 34 w 68"/>
                <a:gd name="T53" fmla="*/ 61 h 142"/>
                <a:gd name="T54" fmla="*/ 34 w 68"/>
                <a:gd name="T55" fmla="*/ 122 h 142"/>
                <a:gd name="T56" fmla="*/ 1 w 68"/>
                <a:gd name="T57" fmla="*/ 138 h 142"/>
                <a:gd name="T58" fmla="*/ 34 w 68"/>
                <a:gd name="T59" fmla="*/ 122 h 142"/>
                <a:gd name="T60" fmla="*/ 34 w 68"/>
                <a:gd name="T61" fmla="*/ 61 h 142"/>
                <a:gd name="T62" fmla="*/ 17 w 68"/>
                <a:gd name="T63" fmla="*/ 63 h 142"/>
                <a:gd name="T64" fmla="*/ 13 w 68"/>
                <a:gd name="T65" fmla="*/ 65 h 142"/>
                <a:gd name="T66" fmla="*/ 10 w 68"/>
                <a:gd name="T67" fmla="*/ 64 h 142"/>
                <a:gd name="T68" fmla="*/ 11 w 68"/>
                <a:gd name="T69" fmla="*/ 62 h 142"/>
                <a:gd name="T70" fmla="*/ 11 w 68"/>
                <a:gd name="T71" fmla="*/ 62 h 142"/>
                <a:gd name="T72" fmla="*/ 34 w 68"/>
                <a:gd name="T73" fmla="*/ 57 h 142"/>
                <a:gd name="T74" fmla="*/ 34 w 68"/>
                <a:gd name="T75" fmla="*/ 42 h 142"/>
                <a:gd name="T76" fmla="*/ 17 w 68"/>
                <a:gd name="T77" fmla="*/ 44 h 142"/>
                <a:gd name="T78" fmla="*/ 13 w 68"/>
                <a:gd name="T79" fmla="*/ 46 h 142"/>
                <a:gd name="T80" fmla="*/ 10 w 68"/>
                <a:gd name="T81" fmla="*/ 45 h 142"/>
                <a:gd name="T82" fmla="*/ 11 w 68"/>
                <a:gd name="T83" fmla="*/ 43 h 142"/>
                <a:gd name="T84" fmla="*/ 11 w 68"/>
                <a:gd name="T85" fmla="*/ 43 h 142"/>
                <a:gd name="T86" fmla="*/ 34 w 68"/>
                <a:gd name="T87" fmla="*/ 38 h 142"/>
                <a:gd name="T88" fmla="*/ 34 w 68"/>
                <a:gd name="T89" fmla="*/ 23 h 142"/>
                <a:gd name="T90" fmla="*/ 17 w 68"/>
                <a:gd name="T91" fmla="*/ 25 h 142"/>
                <a:gd name="T92" fmla="*/ 13 w 68"/>
                <a:gd name="T93" fmla="*/ 27 h 142"/>
                <a:gd name="T94" fmla="*/ 10 w 68"/>
                <a:gd name="T95" fmla="*/ 26 h 142"/>
                <a:gd name="T96" fmla="*/ 11 w 68"/>
                <a:gd name="T97" fmla="*/ 23 h 142"/>
                <a:gd name="T98" fmla="*/ 11 w 68"/>
                <a:gd name="T99" fmla="*/ 23 h 142"/>
                <a:gd name="T100" fmla="*/ 34 w 68"/>
                <a:gd name="T101" fmla="*/ 19 h 142"/>
                <a:gd name="T102" fmla="*/ 34 w 68"/>
                <a:gd name="T103" fmla="*/ 0 h 142"/>
                <a:gd name="T104" fmla="*/ 2 w 68"/>
                <a:gd name="T105" fmla="*/ 15 h 142"/>
                <a:gd name="T106" fmla="*/ 0 w 68"/>
                <a:gd name="T107" fmla="*/ 31 h 142"/>
                <a:gd name="T108" fmla="*/ 0 w 68"/>
                <a:gd name="T109" fmla="*/ 138 h 142"/>
                <a:gd name="T110" fmla="*/ 1 w 68"/>
                <a:gd name="T1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" h="142">
                  <a:moveTo>
                    <a:pt x="34" y="122"/>
                  </a:moveTo>
                  <a:cubicBezTo>
                    <a:pt x="50" y="122"/>
                    <a:pt x="63" y="126"/>
                    <a:pt x="67" y="138"/>
                  </a:cubicBezTo>
                  <a:cubicBezTo>
                    <a:pt x="68" y="142"/>
                    <a:pt x="68" y="142"/>
                    <a:pt x="68" y="138"/>
                  </a:cubicBezTo>
                  <a:cubicBezTo>
                    <a:pt x="68" y="116"/>
                    <a:pt x="68" y="53"/>
                    <a:pt x="68" y="31"/>
                  </a:cubicBezTo>
                  <a:cubicBezTo>
                    <a:pt x="68" y="26"/>
                    <a:pt x="68" y="19"/>
                    <a:pt x="66" y="15"/>
                  </a:cubicBezTo>
                  <a:cubicBezTo>
                    <a:pt x="62" y="3"/>
                    <a:pt x="49" y="0"/>
                    <a:pt x="34" y="0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44" y="19"/>
                    <a:pt x="51" y="21"/>
                    <a:pt x="57" y="23"/>
                  </a:cubicBezTo>
                  <a:cubicBezTo>
                    <a:pt x="58" y="24"/>
                    <a:pt x="58" y="25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56" y="27"/>
                    <a:pt x="56" y="27"/>
                    <a:pt x="55" y="27"/>
                  </a:cubicBezTo>
                  <a:cubicBezTo>
                    <a:pt x="54" y="26"/>
                    <a:pt x="52" y="26"/>
                    <a:pt x="51" y="25"/>
                  </a:cubicBezTo>
                  <a:cubicBezTo>
                    <a:pt x="46" y="24"/>
                    <a:pt x="41" y="23"/>
                    <a:pt x="34" y="23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44" y="38"/>
                    <a:pt x="51" y="40"/>
                    <a:pt x="57" y="43"/>
                  </a:cubicBezTo>
                  <a:cubicBezTo>
                    <a:pt x="58" y="43"/>
                    <a:pt x="58" y="44"/>
                    <a:pt x="58" y="45"/>
                  </a:cubicBezTo>
                  <a:cubicBezTo>
                    <a:pt x="58" y="46"/>
                    <a:pt x="57" y="46"/>
                    <a:pt x="56" y="46"/>
                  </a:cubicBezTo>
                  <a:cubicBezTo>
                    <a:pt x="56" y="46"/>
                    <a:pt x="56" y="46"/>
                    <a:pt x="55" y="46"/>
                  </a:cubicBezTo>
                  <a:cubicBezTo>
                    <a:pt x="54" y="45"/>
                    <a:pt x="52" y="45"/>
                    <a:pt x="51" y="44"/>
                  </a:cubicBezTo>
                  <a:cubicBezTo>
                    <a:pt x="46" y="43"/>
                    <a:pt x="41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44" y="57"/>
                    <a:pt x="51" y="59"/>
                    <a:pt x="57" y="62"/>
                  </a:cubicBezTo>
                  <a:cubicBezTo>
                    <a:pt x="58" y="62"/>
                    <a:pt x="58" y="63"/>
                    <a:pt x="58" y="64"/>
                  </a:cubicBezTo>
                  <a:cubicBezTo>
                    <a:pt x="58" y="65"/>
                    <a:pt x="57" y="65"/>
                    <a:pt x="56" y="65"/>
                  </a:cubicBezTo>
                  <a:cubicBezTo>
                    <a:pt x="56" y="65"/>
                    <a:pt x="56" y="65"/>
                    <a:pt x="55" y="65"/>
                  </a:cubicBezTo>
                  <a:cubicBezTo>
                    <a:pt x="54" y="64"/>
                    <a:pt x="52" y="64"/>
                    <a:pt x="51" y="63"/>
                  </a:cubicBezTo>
                  <a:cubicBezTo>
                    <a:pt x="46" y="62"/>
                    <a:pt x="41" y="61"/>
                    <a:pt x="34" y="61"/>
                  </a:cubicBezTo>
                  <a:lnTo>
                    <a:pt x="34" y="122"/>
                  </a:lnTo>
                  <a:close/>
                  <a:moveTo>
                    <a:pt x="1" y="138"/>
                  </a:moveTo>
                  <a:cubicBezTo>
                    <a:pt x="5" y="126"/>
                    <a:pt x="18" y="122"/>
                    <a:pt x="34" y="12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7" y="61"/>
                    <a:pt x="22" y="62"/>
                    <a:pt x="17" y="63"/>
                  </a:cubicBezTo>
                  <a:cubicBezTo>
                    <a:pt x="16" y="64"/>
                    <a:pt x="14" y="64"/>
                    <a:pt x="13" y="65"/>
                  </a:cubicBezTo>
                  <a:cubicBezTo>
                    <a:pt x="12" y="66"/>
                    <a:pt x="10" y="65"/>
                    <a:pt x="10" y="64"/>
                  </a:cubicBezTo>
                  <a:cubicBezTo>
                    <a:pt x="9" y="63"/>
                    <a:pt x="10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7" y="59"/>
                    <a:pt x="24" y="57"/>
                    <a:pt x="34" y="57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7" y="42"/>
                    <a:pt x="22" y="43"/>
                    <a:pt x="17" y="44"/>
                  </a:cubicBezTo>
                  <a:cubicBezTo>
                    <a:pt x="16" y="45"/>
                    <a:pt x="14" y="45"/>
                    <a:pt x="13" y="46"/>
                  </a:cubicBezTo>
                  <a:cubicBezTo>
                    <a:pt x="12" y="47"/>
                    <a:pt x="10" y="46"/>
                    <a:pt x="10" y="45"/>
                  </a:cubicBezTo>
                  <a:cubicBezTo>
                    <a:pt x="9" y="44"/>
                    <a:pt x="10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7" y="40"/>
                    <a:pt x="24" y="38"/>
                    <a:pt x="34" y="3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7" y="23"/>
                    <a:pt x="22" y="24"/>
                    <a:pt x="17" y="25"/>
                  </a:cubicBezTo>
                  <a:cubicBezTo>
                    <a:pt x="15" y="26"/>
                    <a:pt x="14" y="26"/>
                    <a:pt x="13" y="27"/>
                  </a:cubicBezTo>
                  <a:cubicBezTo>
                    <a:pt x="12" y="27"/>
                    <a:pt x="10" y="27"/>
                    <a:pt x="10" y="26"/>
                  </a:cubicBezTo>
                  <a:cubicBezTo>
                    <a:pt x="9" y="25"/>
                    <a:pt x="10" y="24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21"/>
                    <a:pt x="24" y="19"/>
                    <a:pt x="34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6" y="3"/>
                    <a:pt x="2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8" name="任意多边形: 形状 1447"/>
            <p:cNvSpPr/>
            <p:nvPr>
              <p:custDataLst>
                <p:tags r:id="rId40"/>
              </p:custDataLst>
            </p:nvPr>
          </p:nvSpPr>
          <p:spPr bwMode="auto">
            <a:xfrm flipH="1">
              <a:off x="3527506" y="3315318"/>
              <a:ext cx="144061" cy="288845"/>
            </a:xfrm>
            <a:custGeom>
              <a:avLst/>
              <a:gdLst>
                <a:gd name="T0" fmla="*/ 67 w 67"/>
                <a:gd name="T1" fmla="*/ 138 h 142"/>
                <a:gd name="T2" fmla="*/ 66 w 67"/>
                <a:gd name="T3" fmla="*/ 15 h 142"/>
                <a:gd name="T4" fmla="*/ 33 w 67"/>
                <a:gd name="T5" fmla="*/ 19 h 142"/>
                <a:gd name="T6" fmla="*/ 57 w 67"/>
                <a:gd name="T7" fmla="*/ 26 h 142"/>
                <a:gd name="T8" fmla="*/ 56 w 67"/>
                <a:gd name="T9" fmla="*/ 27 h 142"/>
                <a:gd name="T10" fmla="*/ 50 w 67"/>
                <a:gd name="T11" fmla="*/ 25 h 142"/>
                <a:gd name="T12" fmla="*/ 33 w 67"/>
                <a:gd name="T13" fmla="*/ 38 h 142"/>
                <a:gd name="T14" fmla="*/ 57 w 67"/>
                <a:gd name="T15" fmla="*/ 45 h 142"/>
                <a:gd name="T16" fmla="*/ 56 w 67"/>
                <a:gd name="T17" fmla="*/ 46 h 142"/>
                <a:gd name="T18" fmla="*/ 50 w 67"/>
                <a:gd name="T19" fmla="*/ 44 h 142"/>
                <a:gd name="T20" fmla="*/ 33 w 67"/>
                <a:gd name="T21" fmla="*/ 57 h 142"/>
                <a:gd name="T22" fmla="*/ 57 w 67"/>
                <a:gd name="T23" fmla="*/ 64 h 142"/>
                <a:gd name="T24" fmla="*/ 56 w 67"/>
                <a:gd name="T25" fmla="*/ 65 h 142"/>
                <a:gd name="T26" fmla="*/ 50 w 67"/>
                <a:gd name="T27" fmla="*/ 63 h 142"/>
                <a:gd name="T28" fmla="*/ 33 w 67"/>
                <a:gd name="T29" fmla="*/ 122 h 142"/>
                <a:gd name="T30" fmla="*/ 66 w 67"/>
                <a:gd name="T31" fmla="*/ 138 h 142"/>
                <a:gd name="T32" fmla="*/ 33 w 67"/>
                <a:gd name="T33" fmla="*/ 0 h 142"/>
                <a:gd name="T34" fmla="*/ 0 w 67"/>
                <a:gd name="T35" fmla="*/ 31 h 142"/>
                <a:gd name="T36" fmla="*/ 1 w 67"/>
                <a:gd name="T37" fmla="*/ 138 h 142"/>
                <a:gd name="T38" fmla="*/ 33 w 67"/>
                <a:gd name="T39" fmla="*/ 61 h 142"/>
                <a:gd name="T40" fmla="*/ 17 w 67"/>
                <a:gd name="T41" fmla="*/ 63 h 142"/>
                <a:gd name="T42" fmla="*/ 9 w 67"/>
                <a:gd name="T43" fmla="*/ 64 h 142"/>
                <a:gd name="T44" fmla="*/ 33 w 67"/>
                <a:gd name="T45" fmla="*/ 57 h 142"/>
                <a:gd name="T46" fmla="*/ 33 w 67"/>
                <a:gd name="T47" fmla="*/ 42 h 142"/>
                <a:gd name="T48" fmla="*/ 17 w 67"/>
                <a:gd name="T49" fmla="*/ 44 h 142"/>
                <a:gd name="T50" fmla="*/ 9 w 67"/>
                <a:gd name="T51" fmla="*/ 45 h 142"/>
                <a:gd name="T52" fmla="*/ 33 w 67"/>
                <a:gd name="T53" fmla="*/ 38 h 142"/>
                <a:gd name="T54" fmla="*/ 33 w 67"/>
                <a:gd name="T55" fmla="*/ 23 h 142"/>
                <a:gd name="T56" fmla="*/ 17 w 67"/>
                <a:gd name="T57" fmla="*/ 25 h 142"/>
                <a:gd name="T58" fmla="*/ 9 w 67"/>
                <a:gd name="T59" fmla="*/ 26 h 142"/>
                <a:gd name="T60" fmla="*/ 33 w 67"/>
                <a:gd name="T61" fmla="*/ 19 h 142"/>
                <a:gd name="T62" fmla="*/ 33 w 67"/>
                <a:gd name="T6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" h="142">
                  <a:moveTo>
                    <a:pt x="66" y="138"/>
                  </a:moveTo>
                  <a:cubicBezTo>
                    <a:pt x="67" y="142"/>
                    <a:pt x="67" y="142"/>
                    <a:pt x="67" y="138"/>
                  </a:cubicBezTo>
                  <a:cubicBezTo>
                    <a:pt x="67" y="116"/>
                    <a:pt x="67" y="53"/>
                    <a:pt x="67" y="31"/>
                  </a:cubicBezTo>
                  <a:cubicBezTo>
                    <a:pt x="67" y="26"/>
                    <a:pt x="67" y="19"/>
                    <a:pt x="66" y="15"/>
                  </a:cubicBezTo>
                  <a:cubicBezTo>
                    <a:pt x="62" y="3"/>
                    <a:pt x="49" y="0"/>
                    <a:pt x="33" y="0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43" y="19"/>
                    <a:pt x="51" y="21"/>
                    <a:pt x="57" y="23"/>
                  </a:cubicBezTo>
                  <a:cubicBezTo>
                    <a:pt x="58" y="24"/>
                    <a:pt x="58" y="25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3" y="26"/>
                    <a:pt x="52" y="26"/>
                    <a:pt x="50" y="25"/>
                  </a:cubicBezTo>
                  <a:cubicBezTo>
                    <a:pt x="46" y="24"/>
                    <a:pt x="40" y="23"/>
                    <a:pt x="33" y="23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43" y="38"/>
                    <a:pt x="51" y="40"/>
                    <a:pt x="57" y="43"/>
                  </a:cubicBezTo>
                  <a:cubicBezTo>
                    <a:pt x="58" y="43"/>
                    <a:pt x="58" y="44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6" y="46"/>
                    <a:pt x="56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3" y="45"/>
                    <a:pt x="52" y="45"/>
                    <a:pt x="50" y="44"/>
                  </a:cubicBezTo>
                  <a:cubicBezTo>
                    <a:pt x="46" y="43"/>
                    <a:pt x="40" y="42"/>
                    <a:pt x="33" y="4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43" y="57"/>
                    <a:pt x="51" y="59"/>
                    <a:pt x="57" y="62"/>
                  </a:cubicBezTo>
                  <a:cubicBezTo>
                    <a:pt x="58" y="62"/>
                    <a:pt x="58" y="63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6" y="65"/>
                    <a:pt x="56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3" y="64"/>
                    <a:pt x="52" y="64"/>
                    <a:pt x="50" y="63"/>
                  </a:cubicBezTo>
                  <a:cubicBezTo>
                    <a:pt x="46" y="62"/>
                    <a:pt x="40" y="61"/>
                    <a:pt x="33" y="61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49" y="122"/>
                    <a:pt x="62" y="126"/>
                    <a:pt x="66" y="138"/>
                  </a:cubicBezTo>
                  <a:close/>
                  <a:moveTo>
                    <a:pt x="33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5" y="3"/>
                    <a:pt x="1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ubicBezTo>
                    <a:pt x="5" y="126"/>
                    <a:pt x="18" y="122"/>
                    <a:pt x="33" y="12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7" y="61"/>
                    <a:pt x="21" y="62"/>
                    <a:pt x="17" y="63"/>
                  </a:cubicBezTo>
                  <a:cubicBezTo>
                    <a:pt x="15" y="64"/>
                    <a:pt x="13" y="64"/>
                    <a:pt x="12" y="65"/>
                  </a:cubicBezTo>
                  <a:cubicBezTo>
                    <a:pt x="11" y="66"/>
                    <a:pt x="10" y="65"/>
                    <a:pt x="9" y="64"/>
                  </a:cubicBezTo>
                  <a:cubicBezTo>
                    <a:pt x="9" y="63"/>
                    <a:pt x="9" y="62"/>
                    <a:pt x="10" y="62"/>
                  </a:cubicBezTo>
                  <a:cubicBezTo>
                    <a:pt x="16" y="59"/>
                    <a:pt x="24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7" y="42"/>
                    <a:pt x="21" y="43"/>
                    <a:pt x="17" y="44"/>
                  </a:cubicBezTo>
                  <a:cubicBezTo>
                    <a:pt x="15" y="45"/>
                    <a:pt x="13" y="45"/>
                    <a:pt x="12" y="46"/>
                  </a:cubicBezTo>
                  <a:cubicBezTo>
                    <a:pt x="11" y="47"/>
                    <a:pt x="10" y="46"/>
                    <a:pt x="9" y="45"/>
                  </a:cubicBezTo>
                  <a:cubicBezTo>
                    <a:pt x="9" y="44"/>
                    <a:pt x="9" y="43"/>
                    <a:pt x="10" y="43"/>
                  </a:cubicBezTo>
                  <a:cubicBezTo>
                    <a:pt x="16" y="40"/>
                    <a:pt x="24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3"/>
                    <a:pt x="21" y="24"/>
                    <a:pt x="17" y="25"/>
                  </a:cubicBezTo>
                  <a:cubicBezTo>
                    <a:pt x="15" y="26"/>
                    <a:pt x="13" y="26"/>
                    <a:pt x="12" y="27"/>
                  </a:cubicBezTo>
                  <a:cubicBezTo>
                    <a:pt x="11" y="27"/>
                    <a:pt x="10" y="27"/>
                    <a:pt x="9" y="26"/>
                  </a:cubicBezTo>
                  <a:cubicBezTo>
                    <a:pt x="9" y="25"/>
                    <a:pt x="9" y="24"/>
                    <a:pt x="10" y="23"/>
                  </a:cubicBezTo>
                  <a:cubicBezTo>
                    <a:pt x="16" y="21"/>
                    <a:pt x="24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49" name="任意多边形: 形状 1448"/>
            <p:cNvSpPr/>
            <p:nvPr>
              <p:custDataLst>
                <p:tags r:id="rId41"/>
              </p:custDataLst>
            </p:nvPr>
          </p:nvSpPr>
          <p:spPr bwMode="auto">
            <a:xfrm flipH="1">
              <a:off x="2720582" y="5589115"/>
              <a:ext cx="165945" cy="300880"/>
            </a:xfrm>
            <a:custGeom>
              <a:avLst/>
              <a:gdLst>
                <a:gd name="T0" fmla="*/ 77 w 77"/>
                <a:gd name="T1" fmla="*/ 109 h 148"/>
                <a:gd name="T2" fmla="*/ 77 w 77"/>
                <a:gd name="T3" fmla="*/ 35 h 148"/>
                <a:gd name="T4" fmla="*/ 45 w 77"/>
                <a:gd name="T5" fmla="*/ 0 h 148"/>
                <a:gd name="T6" fmla="*/ 31 w 77"/>
                <a:gd name="T7" fmla="*/ 0 h 148"/>
                <a:gd name="T8" fmla="*/ 0 w 77"/>
                <a:gd name="T9" fmla="*/ 35 h 148"/>
                <a:gd name="T10" fmla="*/ 0 w 77"/>
                <a:gd name="T11" fmla="*/ 118 h 148"/>
                <a:gd name="T12" fmla="*/ 29 w 77"/>
                <a:gd name="T13" fmla="*/ 148 h 148"/>
                <a:gd name="T14" fmla="*/ 30 w 77"/>
                <a:gd name="T15" fmla="*/ 148 h 148"/>
                <a:gd name="T16" fmla="*/ 60 w 77"/>
                <a:gd name="T17" fmla="*/ 118 h 148"/>
                <a:gd name="T18" fmla="*/ 60 w 77"/>
                <a:gd name="T19" fmla="*/ 61 h 148"/>
                <a:gd name="T20" fmla="*/ 40 w 77"/>
                <a:gd name="T21" fmla="*/ 39 h 148"/>
                <a:gd name="T22" fmla="*/ 37 w 77"/>
                <a:gd name="T23" fmla="*/ 39 h 148"/>
                <a:gd name="T24" fmla="*/ 17 w 77"/>
                <a:gd name="T25" fmla="*/ 61 h 148"/>
                <a:gd name="T26" fmla="*/ 17 w 77"/>
                <a:gd name="T27" fmla="*/ 109 h 148"/>
                <a:gd name="T28" fmla="*/ 29 w 77"/>
                <a:gd name="T29" fmla="*/ 109 h 148"/>
                <a:gd name="T30" fmla="*/ 29 w 77"/>
                <a:gd name="T31" fmla="*/ 61 h 148"/>
                <a:gd name="T32" fmla="*/ 37 w 77"/>
                <a:gd name="T33" fmla="*/ 51 h 148"/>
                <a:gd name="T34" fmla="*/ 40 w 77"/>
                <a:gd name="T35" fmla="*/ 51 h 148"/>
                <a:gd name="T36" fmla="*/ 49 w 77"/>
                <a:gd name="T37" fmla="*/ 61 h 148"/>
                <a:gd name="T38" fmla="*/ 49 w 77"/>
                <a:gd name="T39" fmla="*/ 118 h 148"/>
                <a:gd name="T40" fmla="*/ 30 w 77"/>
                <a:gd name="T41" fmla="*/ 137 h 148"/>
                <a:gd name="T42" fmla="*/ 16 w 77"/>
                <a:gd name="T43" fmla="*/ 130 h 148"/>
                <a:gd name="T44" fmla="*/ 11 w 77"/>
                <a:gd name="T45" fmla="*/ 112 h 148"/>
                <a:gd name="T46" fmla="*/ 11 w 77"/>
                <a:gd name="T47" fmla="*/ 35 h 148"/>
                <a:gd name="T48" fmla="*/ 31 w 77"/>
                <a:gd name="T49" fmla="*/ 11 h 148"/>
                <a:gd name="T50" fmla="*/ 45 w 77"/>
                <a:gd name="T51" fmla="*/ 11 h 148"/>
                <a:gd name="T52" fmla="*/ 66 w 77"/>
                <a:gd name="T53" fmla="*/ 35 h 148"/>
                <a:gd name="T54" fmla="*/ 66 w 77"/>
                <a:gd name="T55" fmla="*/ 109 h 148"/>
                <a:gd name="T56" fmla="*/ 77 w 77"/>
                <a:gd name="T57" fmla="*/ 10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148">
                  <a:moveTo>
                    <a:pt x="77" y="109"/>
                  </a:moveTo>
                  <a:cubicBezTo>
                    <a:pt x="77" y="35"/>
                    <a:pt x="77" y="35"/>
                    <a:pt x="77" y="35"/>
                  </a:cubicBezTo>
                  <a:cubicBezTo>
                    <a:pt x="77" y="14"/>
                    <a:pt x="64" y="0"/>
                    <a:pt x="4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2" y="0"/>
                    <a:pt x="0" y="14"/>
                    <a:pt x="0" y="35"/>
                  </a:cubicBezTo>
                  <a:cubicBezTo>
                    <a:pt x="0" y="35"/>
                    <a:pt x="0" y="118"/>
                    <a:pt x="0" y="118"/>
                  </a:cubicBezTo>
                  <a:cubicBezTo>
                    <a:pt x="0" y="134"/>
                    <a:pt x="13" y="148"/>
                    <a:pt x="29" y="148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47" y="148"/>
                    <a:pt x="60" y="135"/>
                    <a:pt x="60" y="118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0" y="49"/>
                    <a:pt x="51" y="39"/>
                    <a:pt x="40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26" y="39"/>
                    <a:pt x="17" y="49"/>
                    <a:pt x="17" y="61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56"/>
                    <a:pt x="31" y="51"/>
                    <a:pt x="37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5" y="51"/>
                    <a:pt x="49" y="55"/>
                    <a:pt x="49" y="61"/>
                  </a:cubicBezTo>
                  <a:cubicBezTo>
                    <a:pt x="49" y="118"/>
                    <a:pt x="49" y="118"/>
                    <a:pt x="49" y="118"/>
                  </a:cubicBezTo>
                  <a:cubicBezTo>
                    <a:pt x="49" y="128"/>
                    <a:pt x="41" y="137"/>
                    <a:pt x="30" y="137"/>
                  </a:cubicBezTo>
                  <a:cubicBezTo>
                    <a:pt x="24" y="137"/>
                    <a:pt x="19" y="134"/>
                    <a:pt x="16" y="130"/>
                  </a:cubicBezTo>
                  <a:cubicBezTo>
                    <a:pt x="13" y="127"/>
                    <a:pt x="11" y="121"/>
                    <a:pt x="11" y="11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17"/>
                    <a:pt x="21" y="11"/>
                    <a:pt x="31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60" y="11"/>
                    <a:pt x="66" y="23"/>
                    <a:pt x="66" y="35"/>
                  </a:cubicBezTo>
                  <a:cubicBezTo>
                    <a:pt x="66" y="109"/>
                    <a:pt x="66" y="109"/>
                    <a:pt x="66" y="109"/>
                  </a:cubicBezTo>
                  <a:lnTo>
                    <a:pt x="77" y="10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0" name="任意多边形: 形状 1449"/>
            <p:cNvSpPr/>
            <p:nvPr>
              <p:custDataLst>
                <p:tags r:id="rId42"/>
              </p:custDataLst>
            </p:nvPr>
          </p:nvSpPr>
          <p:spPr bwMode="auto">
            <a:xfrm flipH="1">
              <a:off x="3076176" y="3785552"/>
              <a:ext cx="179621" cy="168493"/>
            </a:xfrm>
            <a:custGeom>
              <a:avLst/>
              <a:gdLst>
                <a:gd name="T0" fmla="*/ 39 w 83"/>
                <a:gd name="T1" fmla="*/ 83 h 83"/>
                <a:gd name="T2" fmla="*/ 41 w 83"/>
                <a:gd name="T3" fmla="*/ 83 h 83"/>
                <a:gd name="T4" fmla="*/ 83 w 83"/>
                <a:gd name="T5" fmla="*/ 42 h 83"/>
                <a:gd name="T6" fmla="*/ 41 w 83"/>
                <a:gd name="T7" fmla="*/ 0 h 83"/>
                <a:gd name="T8" fmla="*/ 0 w 83"/>
                <a:gd name="T9" fmla="*/ 41 h 83"/>
                <a:gd name="T10" fmla="*/ 23 w 83"/>
                <a:gd name="T11" fmla="*/ 55 h 83"/>
                <a:gd name="T12" fmla="*/ 39 w 8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3">
                  <a:moveTo>
                    <a:pt x="39" y="83"/>
                  </a:moveTo>
                  <a:cubicBezTo>
                    <a:pt x="40" y="83"/>
                    <a:pt x="40" y="83"/>
                    <a:pt x="41" y="83"/>
                  </a:cubicBezTo>
                  <a:cubicBezTo>
                    <a:pt x="64" y="83"/>
                    <a:pt x="83" y="65"/>
                    <a:pt x="83" y="42"/>
                  </a:cubicBezTo>
                  <a:cubicBezTo>
                    <a:pt x="83" y="19"/>
                    <a:pt x="64" y="0"/>
                    <a:pt x="41" y="0"/>
                  </a:cubicBezTo>
                  <a:cubicBezTo>
                    <a:pt x="19" y="0"/>
                    <a:pt x="0" y="18"/>
                    <a:pt x="0" y="41"/>
                  </a:cubicBezTo>
                  <a:cubicBezTo>
                    <a:pt x="8" y="44"/>
                    <a:pt x="16" y="49"/>
                    <a:pt x="23" y="55"/>
                  </a:cubicBezTo>
                  <a:cubicBezTo>
                    <a:pt x="31" y="63"/>
                    <a:pt x="36" y="73"/>
                    <a:pt x="39" y="8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1" name="任意多边形: 形状 1450"/>
            <p:cNvSpPr/>
            <p:nvPr>
              <p:custDataLst>
                <p:tags r:id="rId43"/>
              </p:custDataLst>
            </p:nvPr>
          </p:nvSpPr>
          <p:spPr bwMode="auto">
            <a:xfrm flipH="1">
              <a:off x="3140913" y="3738271"/>
              <a:ext cx="50148" cy="36966"/>
            </a:xfrm>
            <a:custGeom>
              <a:avLst/>
              <a:gdLst>
                <a:gd name="T0" fmla="*/ 55 w 55"/>
                <a:gd name="T1" fmla="*/ 43 h 43"/>
                <a:gd name="T2" fmla="*/ 26 w 55"/>
                <a:gd name="T3" fmla="*/ 0 h 43"/>
                <a:gd name="T4" fmla="*/ 0 w 55"/>
                <a:gd name="T5" fmla="*/ 43 h 43"/>
                <a:gd name="T6" fmla="*/ 55 w 55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3">
                  <a:moveTo>
                    <a:pt x="55" y="43"/>
                  </a:moveTo>
                  <a:lnTo>
                    <a:pt x="26" y="0"/>
                  </a:lnTo>
                  <a:lnTo>
                    <a:pt x="0" y="43"/>
                  </a:lnTo>
                  <a:lnTo>
                    <a:pt x="55" y="4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2" name="任意多边形: 形状 1451"/>
            <p:cNvSpPr/>
            <p:nvPr>
              <p:custDataLst>
                <p:tags r:id="rId44"/>
              </p:custDataLst>
            </p:nvPr>
          </p:nvSpPr>
          <p:spPr bwMode="auto">
            <a:xfrm flipH="1">
              <a:off x="3026941" y="3846587"/>
              <a:ext cx="38295" cy="48141"/>
            </a:xfrm>
            <a:custGeom>
              <a:avLst/>
              <a:gdLst>
                <a:gd name="T0" fmla="*/ 0 w 42"/>
                <a:gd name="T1" fmla="*/ 56 h 56"/>
                <a:gd name="T2" fmla="*/ 42 w 42"/>
                <a:gd name="T3" fmla="*/ 28 h 56"/>
                <a:gd name="T4" fmla="*/ 0 w 42"/>
                <a:gd name="T5" fmla="*/ 0 h 56"/>
                <a:gd name="T6" fmla="*/ 0 w 42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56">
                  <a:moveTo>
                    <a:pt x="0" y="56"/>
                  </a:moveTo>
                  <a:lnTo>
                    <a:pt x="42" y="28"/>
                  </a:lnTo>
                  <a:lnTo>
                    <a:pt x="0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3" name="任意多边形: 形状 1452"/>
            <p:cNvSpPr/>
            <p:nvPr>
              <p:custDataLst>
                <p:tags r:id="rId45"/>
              </p:custDataLst>
            </p:nvPr>
          </p:nvSpPr>
          <p:spPr bwMode="auto">
            <a:xfrm flipH="1">
              <a:off x="3268562" y="3846587"/>
              <a:ext cx="23706" cy="18053"/>
            </a:xfrm>
            <a:custGeom>
              <a:avLst/>
              <a:gdLst>
                <a:gd name="T0" fmla="*/ 11 w 11"/>
                <a:gd name="T1" fmla="*/ 0 h 9"/>
                <a:gd name="T2" fmla="*/ 0 w 11"/>
                <a:gd name="T3" fmla="*/ 8 h 9"/>
                <a:gd name="T4" fmla="*/ 11 w 11"/>
                <a:gd name="T5" fmla="*/ 9 h 9"/>
                <a:gd name="T6" fmla="*/ 1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1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4" y="8"/>
                    <a:pt x="8" y="8"/>
                    <a:pt x="11" y="9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4" name="任意多边形: 形状 1453"/>
            <p:cNvSpPr/>
            <p:nvPr>
              <p:custDataLst>
                <p:tags r:id="rId46"/>
              </p:custDataLst>
            </p:nvPr>
          </p:nvSpPr>
          <p:spPr bwMode="auto">
            <a:xfrm flipH="1">
              <a:off x="3067970" y="3776955"/>
              <a:ext cx="44677" cy="42983"/>
            </a:xfrm>
            <a:custGeom>
              <a:avLst/>
              <a:gdLst>
                <a:gd name="T0" fmla="*/ 0 w 49"/>
                <a:gd name="T1" fmla="*/ 12 h 50"/>
                <a:gd name="T2" fmla="*/ 37 w 49"/>
                <a:gd name="T3" fmla="*/ 50 h 50"/>
                <a:gd name="T4" fmla="*/ 49 w 49"/>
                <a:gd name="T5" fmla="*/ 0 h 50"/>
                <a:gd name="T6" fmla="*/ 0 w 49"/>
                <a:gd name="T7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50">
                  <a:moveTo>
                    <a:pt x="0" y="12"/>
                  </a:moveTo>
                  <a:lnTo>
                    <a:pt x="37" y="50"/>
                  </a:lnTo>
                  <a:lnTo>
                    <a:pt x="49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5" name="任意多边形: 形状 1454"/>
            <p:cNvSpPr/>
            <p:nvPr>
              <p:custDataLst>
                <p:tags r:id="rId47"/>
              </p:custDataLst>
            </p:nvPr>
          </p:nvSpPr>
          <p:spPr bwMode="auto">
            <a:xfrm flipH="1">
              <a:off x="3067970" y="3921378"/>
              <a:ext cx="44677" cy="42983"/>
            </a:xfrm>
            <a:custGeom>
              <a:avLst/>
              <a:gdLst>
                <a:gd name="T0" fmla="*/ 37 w 49"/>
                <a:gd name="T1" fmla="*/ 0 h 50"/>
                <a:gd name="T2" fmla="*/ 0 w 49"/>
                <a:gd name="T3" fmla="*/ 38 h 50"/>
                <a:gd name="T4" fmla="*/ 49 w 49"/>
                <a:gd name="T5" fmla="*/ 50 h 50"/>
                <a:gd name="T6" fmla="*/ 37 w 49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50">
                  <a:moveTo>
                    <a:pt x="37" y="0"/>
                  </a:moveTo>
                  <a:lnTo>
                    <a:pt x="0" y="38"/>
                  </a:lnTo>
                  <a:lnTo>
                    <a:pt x="49" y="5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6" name="任意多边形: 形状 1455"/>
            <p:cNvSpPr/>
            <p:nvPr>
              <p:custDataLst>
                <p:tags r:id="rId48"/>
              </p:custDataLst>
            </p:nvPr>
          </p:nvSpPr>
          <p:spPr bwMode="auto">
            <a:xfrm flipH="1">
              <a:off x="3221149" y="3776955"/>
              <a:ext cx="45589" cy="42983"/>
            </a:xfrm>
            <a:custGeom>
              <a:avLst/>
              <a:gdLst>
                <a:gd name="T0" fmla="*/ 12 w 50"/>
                <a:gd name="T1" fmla="*/ 50 h 50"/>
                <a:gd name="T2" fmla="*/ 50 w 50"/>
                <a:gd name="T3" fmla="*/ 12 h 50"/>
                <a:gd name="T4" fmla="*/ 0 w 50"/>
                <a:gd name="T5" fmla="*/ 0 h 50"/>
                <a:gd name="T6" fmla="*/ 12 w 50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50">
                  <a:moveTo>
                    <a:pt x="12" y="50"/>
                  </a:moveTo>
                  <a:lnTo>
                    <a:pt x="50" y="12"/>
                  </a:lnTo>
                  <a:lnTo>
                    <a:pt x="0" y="0"/>
                  </a:lnTo>
                  <a:lnTo>
                    <a:pt x="12" y="5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7" name="任意多边形: 形状 1456"/>
            <p:cNvSpPr/>
            <p:nvPr>
              <p:custDataLst>
                <p:tags r:id="rId49"/>
              </p:custDataLst>
            </p:nvPr>
          </p:nvSpPr>
          <p:spPr bwMode="auto">
            <a:xfrm flipH="1">
              <a:off x="3063410" y="3872377"/>
              <a:ext cx="392977" cy="226090"/>
            </a:xfrm>
            <a:custGeom>
              <a:avLst/>
              <a:gdLst>
                <a:gd name="T0" fmla="*/ 149 w 182"/>
                <a:gd name="T1" fmla="*/ 47 h 111"/>
                <a:gd name="T2" fmla="*/ 145 w 182"/>
                <a:gd name="T3" fmla="*/ 47 h 111"/>
                <a:gd name="T4" fmla="*/ 129 w 182"/>
                <a:gd name="T5" fmla="*/ 54 h 111"/>
                <a:gd name="T6" fmla="*/ 128 w 182"/>
                <a:gd name="T7" fmla="*/ 46 h 111"/>
                <a:gd name="T8" fmla="*/ 126 w 182"/>
                <a:gd name="T9" fmla="*/ 40 h 111"/>
                <a:gd name="T10" fmla="*/ 93 w 182"/>
                <a:gd name="T11" fmla="*/ 4 h 111"/>
                <a:gd name="T12" fmla="*/ 87 w 182"/>
                <a:gd name="T13" fmla="*/ 2 h 111"/>
                <a:gd name="T14" fmla="*/ 73 w 182"/>
                <a:gd name="T15" fmla="*/ 0 h 111"/>
                <a:gd name="T16" fmla="*/ 71 w 182"/>
                <a:gd name="T17" fmla="*/ 0 h 111"/>
                <a:gd name="T18" fmla="*/ 17 w 182"/>
                <a:gd name="T19" fmla="*/ 56 h 111"/>
                <a:gd name="T20" fmla="*/ 20 w 182"/>
                <a:gd name="T21" fmla="*/ 72 h 111"/>
                <a:gd name="T22" fmla="*/ 0 w 182"/>
                <a:gd name="T23" fmla="*/ 92 h 111"/>
                <a:gd name="T24" fmla="*/ 20 w 182"/>
                <a:gd name="T25" fmla="*/ 111 h 111"/>
                <a:gd name="T26" fmla="*/ 73 w 182"/>
                <a:gd name="T27" fmla="*/ 111 h 111"/>
                <a:gd name="T28" fmla="*/ 75 w 182"/>
                <a:gd name="T29" fmla="*/ 111 h 111"/>
                <a:gd name="T30" fmla="*/ 149 w 182"/>
                <a:gd name="T31" fmla="*/ 111 h 111"/>
                <a:gd name="T32" fmla="*/ 182 w 182"/>
                <a:gd name="T33" fmla="*/ 79 h 111"/>
                <a:gd name="T34" fmla="*/ 149 w 182"/>
                <a:gd name="T35" fmla="*/ 4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11">
                  <a:moveTo>
                    <a:pt x="149" y="47"/>
                  </a:moveTo>
                  <a:cubicBezTo>
                    <a:pt x="148" y="47"/>
                    <a:pt x="146" y="47"/>
                    <a:pt x="145" y="47"/>
                  </a:cubicBezTo>
                  <a:cubicBezTo>
                    <a:pt x="139" y="48"/>
                    <a:pt x="133" y="51"/>
                    <a:pt x="129" y="54"/>
                  </a:cubicBezTo>
                  <a:cubicBezTo>
                    <a:pt x="129" y="51"/>
                    <a:pt x="128" y="49"/>
                    <a:pt x="128" y="46"/>
                  </a:cubicBezTo>
                  <a:cubicBezTo>
                    <a:pt x="127" y="44"/>
                    <a:pt x="127" y="42"/>
                    <a:pt x="126" y="40"/>
                  </a:cubicBezTo>
                  <a:cubicBezTo>
                    <a:pt x="121" y="23"/>
                    <a:pt x="109" y="10"/>
                    <a:pt x="93" y="4"/>
                  </a:cubicBezTo>
                  <a:cubicBezTo>
                    <a:pt x="91" y="3"/>
                    <a:pt x="89" y="2"/>
                    <a:pt x="87" y="2"/>
                  </a:cubicBezTo>
                  <a:cubicBezTo>
                    <a:pt x="83" y="0"/>
                    <a:pt x="78" y="0"/>
                    <a:pt x="73" y="0"/>
                  </a:cubicBezTo>
                  <a:cubicBezTo>
                    <a:pt x="72" y="0"/>
                    <a:pt x="71" y="0"/>
                    <a:pt x="71" y="0"/>
                  </a:cubicBezTo>
                  <a:cubicBezTo>
                    <a:pt x="41" y="1"/>
                    <a:pt x="17" y="26"/>
                    <a:pt x="17" y="56"/>
                  </a:cubicBezTo>
                  <a:cubicBezTo>
                    <a:pt x="17" y="61"/>
                    <a:pt x="18" y="67"/>
                    <a:pt x="20" y="72"/>
                  </a:cubicBezTo>
                  <a:cubicBezTo>
                    <a:pt x="9" y="72"/>
                    <a:pt x="0" y="81"/>
                    <a:pt x="0" y="92"/>
                  </a:cubicBezTo>
                  <a:cubicBezTo>
                    <a:pt x="0" y="102"/>
                    <a:pt x="9" y="111"/>
                    <a:pt x="20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149" y="111"/>
                    <a:pt x="149" y="111"/>
                    <a:pt x="149" y="111"/>
                  </a:cubicBezTo>
                  <a:cubicBezTo>
                    <a:pt x="167" y="111"/>
                    <a:pt x="182" y="97"/>
                    <a:pt x="182" y="79"/>
                  </a:cubicBezTo>
                  <a:cubicBezTo>
                    <a:pt x="182" y="61"/>
                    <a:pt x="167" y="47"/>
                    <a:pt x="149" y="4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8" name="任意多边形: 形状 1457"/>
            <p:cNvSpPr/>
            <p:nvPr>
              <p:custDataLst>
                <p:tags r:id="rId50"/>
              </p:custDataLst>
            </p:nvPr>
          </p:nvSpPr>
          <p:spPr bwMode="auto">
            <a:xfrm flipH="1">
              <a:off x="3549390" y="4389031"/>
              <a:ext cx="271710" cy="156458"/>
            </a:xfrm>
            <a:custGeom>
              <a:avLst/>
              <a:gdLst>
                <a:gd name="T0" fmla="*/ 14 w 126"/>
                <a:gd name="T1" fmla="*/ 77 h 77"/>
                <a:gd name="T2" fmla="*/ 46 w 126"/>
                <a:gd name="T3" fmla="*/ 77 h 77"/>
                <a:gd name="T4" fmla="*/ 89 w 126"/>
                <a:gd name="T5" fmla="*/ 51 h 77"/>
                <a:gd name="T6" fmla="*/ 123 w 126"/>
                <a:gd name="T7" fmla="*/ 65 h 77"/>
                <a:gd name="T8" fmla="*/ 123 w 126"/>
                <a:gd name="T9" fmla="*/ 65 h 77"/>
                <a:gd name="T10" fmla="*/ 126 w 126"/>
                <a:gd name="T11" fmla="*/ 55 h 77"/>
                <a:gd name="T12" fmla="*/ 104 w 126"/>
                <a:gd name="T13" fmla="*/ 32 h 77"/>
                <a:gd name="T14" fmla="*/ 89 w 126"/>
                <a:gd name="T15" fmla="*/ 38 h 77"/>
                <a:gd name="T16" fmla="*/ 51 w 126"/>
                <a:gd name="T17" fmla="*/ 0 h 77"/>
                <a:gd name="T18" fmla="*/ 12 w 126"/>
                <a:gd name="T19" fmla="*/ 38 h 77"/>
                <a:gd name="T20" fmla="*/ 14 w 126"/>
                <a:gd name="T21" fmla="*/ 50 h 77"/>
                <a:gd name="T22" fmla="*/ 0 w 126"/>
                <a:gd name="T23" fmla="*/ 63 h 77"/>
                <a:gd name="T24" fmla="*/ 14 w 126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" h="77">
                  <a:moveTo>
                    <a:pt x="14" y="77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54" y="62"/>
                    <a:pt x="70" y="51"/>
                    <a:pt x="89" y="51"/>
                  </a:cubicBezTo>
                  <a:cubicBezTo>
                    <a:pt x="102" y="51"/>
                    <a:pt x="114" y="56"/>
                    <a:pt x="123" y="65"/>
                  </a:cubicBezTo>
                  <a:cubicBezTo>
                    <a:pt x="123" y="65"/>
                    <a:pt x="123" y="65"/>
                    <a:pt x="123" y="65"/>
                  </a:cubicBezTo>
                  <a:cubicBezTo>
                    <a:pt x="125" y="62"/>
                    <a:pt x="126" y="59"/>
                    <a:pt x="126" y="55"/>
                  </a:cubicBezTo>
                  <a:cubicBezTo>
                    <a:pt x="126" y="42"/>
                    <a:pt x="116" y="32"/>
                    <a:pt x="104" y="32"/>
                  </a:cubicBezTo>
                  <a:cubicBezTo>
                    <a:pt x="98" y="32"/>
                    <a:pt x="93" y="34"/>
                    <a:pt x="89" y="38"/>
                  </a:cubicBezTo>
                  <a:cubicBezTo>
                    <a:pt x="89" y="16"/>
                    <a:pt x="72" y="0"/>
                    <a:pt x="51" y="0"/>
                  </a:cubicBezTo>
                  <a:cubicBezTo>
                    <a:pt x="29" y="0"/>
                    <a:pt x="12" y="17"/>
                    <a:pt x="12" y="38"/>
                  </a:cubicBezTo>
                  <a:cubicBezTo>
                    <a:pt x="12" y="42"/>
                    <a:pt x="13" y="46"/>
                    <a:pt x="14" y="50"/>
                  </a:cubicBezTo>
                  <a:cubicBezTo>
                    <a:pt x="6" y="50"/>
                    <a:pt x="0" y="56"/>
                    <a:pt x="0" y="63"/>
                  </a:cubicBezTo>
                  <a:cubicBezTo>
                    <a:pt x="0" y="71"/>
                    <a:pt x="6" y="77"/>
                    <a:pt x="14" y="7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59" name="任意多边形: 形状 1458"/>
            <p:cNvSpPr/>
            <p:nvPr>
              <p:custDataLst>
                <p:tags r:id="rId51"/>
              </p:custDataLst>
            </p:nvPr>
          </p:nvSpPr>
          <p:spPr bwMode="auto">
            <a:xfrm flipH="1">
              <a:off x="3443623" y="4500787"/>
              <a:ext cx="308181" cy="178809"/>
            </a:xfrm>
            <a:custGeom>
              <a:avLst/>
              <a:gdLst>
                <a:gd name="T0" fmla="*/ 117 w 143"/>
                <a:gd name="T1" fmla="*/ 38 h 88"/>
                <a:gd name="T2" fmla="*/ 101 w 143"/>
                <a:gd name="T3" fmla="*/ 44 h 88"/>
                <a:gd name="T4" fmla="*/ 89 w 143"/>
                <a:gd name="T5" fmla="*/ 14 h 88"/>
                <a:gd name="T6" fmla="*/ 57 w 143"/>
                <a:gd name="T7" fmla="*/ 0 h 88"/>
                <a:gd name="T8" fmla="*/ 19 w 143"/>
                <a:gd name="T9" fmla="*/ 22 h 88"/>
                <a:gd name="T10" fmla="*/ 13 w 143"/>
                <a:gd name="T11" fmla="*/ 44 h 88"/>
                <a:gd name="T12" fmla="*/ 15 w 143"/>
                <a:gd name="T13" fmla="*/ 57 h 88"/>
                <a:gd name="T14" fmla="*/ 0 w 143"/>
                <a:gd name="T15" fmla="*/ 73 h 88"/>
                <a:gd name="T16" fmla="*/ 15 w 143"/>
                <a:gd name="T17" fmla="*/ 88 h 88"/>
                <a:gd name="T18" fmla="*/ 57 w 143"/>
                <a:gd name="T19" fmla="*/ 88 h 88"/>
                <a:gd name="T20" fmla="*/ 59 w 143"/>
                <a:gd name="T21" fmla="*/ 88 h 88"/>
                <a:gd name="T22" fmla="*/ 117 w 143"/>
                <a:gd name="T23" fmla="*/ 88 h 88"/>
                <a:gd name="T24" fmla="*/ 143 w 143"/>
                <a:gd name="T25" fmla="*/ 63 h 88"/>
                <a:gd name="T26" fmla="*/ 117 w 143"/>
                <a:gd name="T27" fmla="*/ 3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88">
                  <a:moveTo>
                    <a:pt x="117" y="38"/>
                  </a:moveTo>
                  <a:cubicBezTo>
                    <a:pt x="111" y="38"/>
                    <a:pt x="105" y="40"/>
                    <a:pt x="101" y="44"/>
                  </a:cubicBezTo>
                  <a:cubicBezTo>
                    <a:pt x="101" y="32"/>
                    <a:pt x="96" y="22"/>
                    <a:pt x="89" y="14"/>
                  </a:cubicBezTo>
                  <a:cubicBezTo>
                    <a:pt x="81" y="6"/>
                    <a:pt x="69" y="0"/>
                    <a:pt x="57" y="0"/>
                  </a:cubicBezTo>
                  <a:cubicBezTo>
                    <a:pt x="41" y="0"/>
                    <a:pt x="27" y="9"/>
                    <a:pt x="19" y="22"/>
                  </a:cubicBezTo>
                  <a:cubicBezTo>
                    <a:pt x="15" y="29"/>
                    <a:pt x="13" y="36"/>
                    <a:pt x="13" y="44"/>
                  </a:cubicBezTo>
                  <a:cubicBezTo>
                    <a:pt x="13" y="49"/>
                    <a:pt x="13" y="53"/>
                    <a:pt x="15" y="57"/>
                  </a:cubicBezTo>
                  <a:cubicBezTo>
                    <a:pt x="6" y="58"/>
                    <a:pt x="0" y="64"/>
                    <a:pt x="0" y="73"/>
                  </a:cubicBezTo>
                  <a:cubicBezTo>
                    <a:pt x="0" y="81"/>
                    <a:pt x="6" y="88"/>
                    <a:pt x="15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31" y="88"/>
                    <a:pt x="143" y="77"/>
                    <a:pt x="143" y="63"/>
                  </a:cubicBezTo>
                  <a:cubicBezTo>
                    <a:pt x="143" y="49"/>
                    <a:pt x="131" y="38"/>
                    <a:pt x="117" y="3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0" name="任意多边形: 形状 1459"/>
            <p:cNvSpPr/>
            <p:nvPr>
              <p:custDataLst>
                <p:tags r:id="rId52"/>
              </p:custDataLst>
            </p:nvPr>
          </p:nvSpPr>
          <p:spPr bwMode="auto">
            <a:xfrm flipH="1">
              <a:off x="2447961" y="1928690"/>
              <a:ext cx="28265" cy="270792"/>
            </a:xfrm>
            <a:custGeom>
              <a:avLst/>
              <a:gdLst>
                <a:gd name="T0" fmla="*/ 0 w 13"/>
                <a:gd name="T1" fmla="*/ 0 h 133"/>
                <a:gd name="T2" fmla="*/ 0 w 13"/>
                <a:gd name="T3" fmla="*/ 133 h 133"/>
                <a:gd name="T4" fmla="*/ 13 w 13"/>
                <a:gd name="T5" fmla="*/ 133 h 133"/>
                <a:gd name="T6" fmla="*/ 13 w 13"/>
                <a:gd name="T7" fmla="*/ 0 h 133"/>
                <a:gd name="T8" fmla="*/ 7 w 13"/>
                <a:gd name="T9" fmla="*/ 1 h 133"/>
                <a:gd name="T10" fmla="*/ 0 w 13"/>
                <a:gd name="T11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3">
                  <a:moveTo>
                    <a:pt x="0" y="0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1"/>
                    <a:pt x="9" y="1"/>
                    <a:pt x="7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1" name="椭圆 1460"/>
            <p:cNvSpPr/>
            <p:nvPr>
              <p:custDataLst>
                <p:tags r:id="rId53"/>
              </p:custDataLst>
            </p:nvPr>
          </p:nvSpPr>
          <p:spPr bwMode="auto">
            <a:xfrm flipH="1">
              <a:off x="2439755" y="1879689"/>
              <a:ext cx="45589" cy="4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2" name="矩形 1461"/>
            <p:cNvSpPr/>
            <p:nvPr>
              <p:custDataLst>
                <p:tags r:id="rId54"/>
              </p:custDataLst>
            </p:nvPr>
          </p:nvSpPr>
          <p:spPr bwMode="auto">
            <a:xfrm flipH="1">
              <a:off x="2180810" y="1931268"/>
              <a:ext cx="248004" cy="16591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3" name="矩形 1462"/>
            <p:cNvSpPr/>
            <p:nvPr>
              <p:custDataLst>
                <p:tags r:id="rId55"/>
              </p:custDataLst>
            </p:nvPr>
          </p:nvSpPr>
          <p:spPr bwMode="auto">
            <a:xfrm flipH="1">
              <a:off x="1759568" y="1412035"/>
              <a:ext cx="54707" cy="206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4" name="任意多边形: 形状 1463"/>
            <p:cNvSpPr/>
            <p:nvPr>
              <p:custDataLst>
                <p:tags r:id="rId56"/>
              </p:custDataLst>
            </p:nvPr>
          </p:nvSpPr>
          <p:spPr bwMode="auto">
            <a:xfrm flipH="1">
              <a:off x="1723097" y="1440404"/>
              <a:ext cx="295416" cy="199441"/>
            </a:xfrm>
            <a:custGeom>
              <a:avLst/>
              <a:gdLst>
                <a:gd name="T0" fmla="*/ 69 w 137"/>
                <a:gd name="T1" fmla="*/ 98 h 98"/>
                <a:gd name="T2" fmla="*/ 137 w 137"/>
                <a:gd name="T3" fmla="*/ 98 h 98"/>
                <a:gd name="T4" fmla="*/ 137 w 137"/>
                <a:gd name="T5" fmla="*/ 0 h 98"/>
                <a:gd name="T6" fmla="*/ 69 w 137"/>
                <a:gd name="T7" fmla="*/ 0 h 98"/>
                <a:gd name="T8" fmla="*/ 69 w 137"/>
                <a:gd name="T9" fmla="*/ 11 h 98"/>
                <a:gd name="T10" fmla="*/ 69 w 137"/>
                <a:gd name="T11" fmla="*/ 11 h 98"/>
                <a:gd name="T12" fmla="*/ 107 w 137"/>
                <a:gd name="T13" fmla="*/ 49 h 98"/>
                <a:gd name="T14" fmla="*/ 69 w 137"/>
                <a:gd name="T15" fmla="*/ 87 h 98"/>
                <a:gd name="T16" fmla="*/ 69 w 137"/>
                <a:gd name="T17" fmla="*/ 98 h 98"/>
                <a:gd name="T18" fmla="*/ 0 w 137"/>
                <a:gd name="T19" fmla="*/ 98 h 98"/>
                <a:gd name="T20" fmla="*/ 69 w 137"/>
                <a:gd name="T21" fmla="*/ 98 h 98"/>
                <a:gd name="T22" fmla="*/ 69 w 137"/>
                <a:gd name="T23" fmla="*/ 87 h 98"/>
                <a:gd name="T24" fmla="*/ 31 w 137"/>
                <a:gd name="T25" fmla="*/ 49 h 98"/>
                <a:gd name="T26" fmla="*/ 69 w 137"/>
                <a:gd name="T27" fmla="*/ 11 h 98"/>
                <a:gd name="T28" fmla="*/ 69 w 137"/>
                <a:gd name="T29" fmla="*/ 0 h 98"/>
                <a:gd name="T30" fmla="*/ 0 w 137"/>
                <a:gd name="T31" fmla="*/ 0 h 98"/>
                <a:gd name="T32" fmla="*/ 0 w 137"/>
                <a:gd name="T33" fmla="*/ 98 h 98"/>
                <a:gd name="T34" fmla="*/ 69 w 137"/>
                <a:gd name="T35" fmla="*/ 11 h 98"/>
                <a:gd name="T36" fmla="*/ 69 w 137"/>
                <a:gd name="T37" fmla="*/ 1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7" h="98">
                  <a:moveTo>
                    <a:pt x="69" y="98"/>
                  </a:moveTo>
                  <a:cubicBezTo>
                    <a:pt x="137" y="98"/>
                    <a:pt x="137" y="98"/>
                    <a:pt x="137" y="98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90" y="11"/>
                    <a:pt x="107" y="28"/>
                    <a:pt x="107" y="49"/>
                  </a:cubicBezTo>
                  <a:cubicBezTo>
                    <a:pt x="107" y="70"/>
                    <a:pt x="90" y="87"/>
                    <a:pt x="69" y="87"/>
                  </a:cubicBezTo>
                  <a:lnTo>
                    <a:pt x="69" y="98"/>
                  </a:lnTo>
                  <a:close/>
                  <a:moveTo>
                    <a:pt x="0" y="98"/>
                  </a:moveTo>
                  <a:cubicBezTo>
                    <a:pt x="69" y="98"/>
                    <a:pt x="69" y="98"/>
                    <a:pt x="69" y="98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48" y="87"/>
                    <a:pt x="31" y="70"/>
                    <a:pt x="31" y="49"/>
                  </a:cubicBezTo>
                  <a:cubicBezTo>
                    <a:pt x="31" y="28"/>
                    <a:pt x="48" y="11"/>
                    <a:pt x="69" y="11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lose/>
                  <a:moveTo>
                    <a:pt x="69" y="11"/>
                  </a:moveTo>
                  <a:cubicBezTo>
                    <a:pt x="69" y="11"/>
                    <a:pt x="69" y="11"/>
                    <a:pt x="69" y="11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5" name="椭圆 1464"/>
            <p:cNvSpPr/>
            <p:nvPr>
              <p:custDataLst>
                <p:tags r:id="rId57"/>
              </p:custDataLst>
            </p:nvPr>
          </p:nvSpPr>
          <p:spPr bwMode="auto">
            <a:xfrm flipH="1">
              <a:off x="1816098" y="1487685"/>
              <a:ext cx="110326" cy="105738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6" name="矩形 1465"/>
            <p:cNvSpPr/>
            <p:nvPr>
              <p:custDataLst>
                <p:tags r:id="rId58"/>
              </p:custDataLst>
            </p:nvPr>
          </p:nvSpPr>
          <p:spPr bwMode="auto">
            <a:xfrm flipH="1">
              <a:off x="1828863" y="5531517"/>
              <a:ext cx="386594" cy="23210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7" name="任意多边形: 形状 1466"/>
            <p:cNvSpPr/>
            <p:nvPr>
              <p:custDataLst>
                <p:tags r:id="rId59"/>
              </p:custDataLst>
            </p:nvPr>
          </p:nvSpPr>
          <p:spPr bwMode="auto">
            <a:xfrm flipH="1">
              <a:off x="2124280" y="5796293"/>
              <a:ext cx="61089" cy="36106"/>
            </a:xfrm>
            <a:custGeom>
              <a:avLst/>
              <a:gdLst>
                <a:gd name="T0" fmla="*/ 2 w 28"/>
                <a:gd name="T1" fmla="*/ 18 h 18"/>
                <a:gd name="T2" fmla="*/ 3 w 28"/>
                <a:gd name="T3" fmla="*/ 18 h 18"/>
                <a:gd name="T4" fmla="*/ 26 w 28"/>
                <a:gd name="T5" fmla="*/ 18 h 18"/>
                <a:gd name="T6" fmla="*/ 26 w 28"/>
                <a:gd name="T7" fmla="*/ 18 h 18"/>
                <a:gd name="T8" fmla="*/ 28 w 28"/>
                <a:gd name="T9" fmla="*/ 16 h 18"/>
                <a:gd name="T10" fmla="*/ 28 w 28"/>
                <a:gd name="T11" fmla="*/ 14 h 18"/>
                <a:gd name="T12" fmla="*/ 14 w 28"/>
                <a:gd name="T13" fmla="*/ 0 h 18"/>
                <a:gd name="T14" fmla="*/ 0 w 28"/>
                <a:gd name="T15" fmla="*/ 14 h 18"/>
                <a:gd name="T16" fmla="*/ 0 w 28"/>
                <a:gd name="T17" fmla="*/ 16 h 18"/>
                <a:gd name="T18" fmla="*/ 2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cubicBezTo>
                    <a:pt x="2" y="18"/>
                    <a:pt x="3" y="18"/>
                    <a:pt x="3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7"/>
                    <a:pt x="28" y="16"/>
                    <a:pt x="28" y="16"/>
                  </a:cubicBezTo>
                  <a:cubicBezTo>
                    <a:pt x="28" y="15"/>
                    <a:pt x="28" y="15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2" y="17"/>
                    <a:pt x="2" y="1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8" name="任意多边形: 形状 1467"/>
            <p:cNvSpPr/>
            <p:nvPr>
              <p:custDataLst>
                <p:tags r:id="rId60"/>
              </p:custDataLst>
            </p:nvPr>
          </p:nvSpPr>
          <p:spPr bwMode="auto">
            <a:xfrm flipH="1">
              <a:off x="1992983" y="5796293"/>
              <a:ext cx="60177" cy="36106"/>
            </a:xfrm>
            <a:custGeom>
              <a:avLst/>
              <a:gdLst>
                <a:gd name="T0" fmla="*/ 2 w 28"/>
                <a:gd name="T1" fmla="*/ 18 h 18"/>
                <a:gd name="T2" fmla="*/ 3 w 28"/>
                <a:gd name="T3" fmla="*/ 18 h 18"/>
                <a:gd name="T4" fmla="*/ 25 w 28"/>
                <a:gd name="T5" fmla="*/ 18 h 18"/>
                <a:gd name="T6" fmla="*/ 26 w 28"/>
                <a:gd name="T7" fmla="*/ 18 h 18"/>
                <a:gd name="T8" fmla="*/ 28 w 28"/>
                <a:gd name="T9" fmla="*/ 16 h 18"/>
                <a:gd name="T10" fmla="*/ 28 w 28"/>
                <a:gd name="T11" fmla="*/ 14 h 18"/>
                <a:gd name="T12" fmla="*/ 14 w 28"/>
                <a:gd name="T13" fmla="*/ 0 h 18"/>
                <a:gd name="T14" fmla="*/ 0 w 28"/>
                <a:gd name="T15" fmla="*/ 14 h 18"/>
                <a:gd name="T16" fmla="*/ 0 w 28"/>
                <a:gd name="T17" fmla="*/ 16 h 18"/>
                <a:gd name="T18" fmla="*/ 2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cubicBezTo>
                    <a:pt x="2" y="18"/>
                    <a:pt x="2" y="18"/>
                    <a:pt x="3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7"/>
                    <a:pt x="27" y="16"/>
                    <a:pt x="28" y="16"/>
                  </a:cubicBezTo>
                  <a:cubicBezTo>
                    <a:pt x="28" y="15"/>
                    <a:pt x="28" y="15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1" y="17"/>
                    <a:pt x="2" y="1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69" name="任意多边形: 形状 1468"/>
            <p:cNvSpPr/>
            <p:nvPr>
              <p:custDataLst>
                <p:tags r:id="rId61"/>
              </p:custDataLst>
            </p:nvPr>
          </p:nvSpPr>
          <p:spPr bwMode="auto">
            <a:xfrm flipH="1">
              <a:off x="1858952" y="5796293"/>
              <a:ext cx="61089" cy="36106"/>
            </a:xfrm>
            <a:custGeom>
              <a:avLst/>
              <a:gdLst>
                <a:gd name="T0" fmla="*/ 2 w 28"/>
                <a:gd name="T1" fmla="*/ 18 h 18"/>
                <a:gd name="T2" fmla="*/ 24 w 28"/>
                <a:gd name="T3" fmla="*/ 18 h 18"/>
                <a:gd name="T4" fmla="*/ 25 w 28"/>
                <a:gd name="T5" fmla="*/ 18 h 18"/>
                <a:gd name="T6" fmla="*/ 28 w 28"/>
                <a:gd name="T7" fmla="*/ 15 h 18"/>
                <a:gd name="T8" fmla="*/ 28 w 28"/>
                <a:gd name="T9" fmla="*/ 14 h 18"/>
                <a:gd name="T10" fmla="*/ 14 w 28"/>
                <a:gd name="T11" fmla="*/ 0 h 18"/>
                <a:gd name="T12" fmla="*/ 0 w 28"/>
                <a:gd name="T13" fmla="*/ 14 h 18"/>
                <a:gd name="T14" fmla="*/ 0 w 28"/>
                <a:gd name="T15" fmla="*/ 17 h 18"/>
                <a:gd name="T16" fmla="*/ 1 w 28"/>
                <a:gd name="T17" fmla="*/ 18 h 18"/>
                <a:gd name="T18" fmla="*/ 2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7"/>
                    <a:pt x="27" y="16"/>
                    <a:pt x="28" y="15"/>
                  </a:cubicBezTo>
                  <a:cubicBezTo>
                    <a:pt x="28" y="15"/>
                    <a:pt x="28" y="14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7"/>
                    <a:pt x="1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0" name="任意多边形: 形状 1469"/>
            <p:cNvSpPr/>
            <p:nvPr>
              <p:custDataLst>
                <p:tags r:id="rId62"/>
              </p:custDataLst>
            </p:nvPr>
          </p:nvSpPr>
          <p:spPr bwMode="auto">
            <a:xfrm flipH="1">
              <a:off x="2092367" y="5832398"/>
              <a:ext cx="124914" cy="38685"/>
            </a:xfrm>
            <a:custGeom>
              <a:avLst/>
              <a:gdLst>
                <a:gd name="T0" fmla="*/ 8 w 58"/>
                <a:gd name="T1" fmla="*/ 0 h 19"/>
                <a:gd name="T2" fmla="*/ 4 w 58"/>
                <a:gd name="T3" fmla="*/ 1 h 19"/>
                <a:gd name="T4" fmla="*/ 3 w 58"/>
                <a:gd name="T5" fmla="*/ 12 h 19"/>
                <a:gd name="T6" fmla="*/ 18 w 58"/>
                <a:gd name="T7" fmla="*/ 19 h 19"/>
                <a:gd name="T8" fmla="*/ 41 w 58"/>
                <a:gd name="T9" fmla="*/ 19 h 19"/>
                <a:gd name="T10" fmla="*/ 56 w 58"/>
                <a:gd name="T11" fmla="*/ 12 h 19"/>
                <a:gd name="T12" fmla="*/ 55 w 58"/>
                <a:gd name="T13" fmla="*/ 1 h 19"/>
                <a:gd name="T14" fmla="*/ 50 w 58"/>
                <a:gd name="T15" fmla="*/ 0 h 19"/>
                <a:gd name="T16" fmla="*/ 44 w 58"/>
                <a:gd name="T17" fmla="*/ 2 h 19"/>
                <a:gd name="T18" fmla="*/ 41 w 58"/>
                <a:gd name="T19" fmla="*/ 4 h 19"/>
                <a:gd name="T20" fmla="*/ 41 w 58"/>
                <a:gd name="T21" fmla="*/ 4 h 19"/>
                <a:gd name="T22" fmla="*/ 18 w 58"/>
                <a:gd name="T23" fmla="*/ 4 h 19"/>
                <a:gd name="T24" fmla="*/ 17 w 58"/>
                <a:gd name="T25" fmla="*/ 4 h 19"/>
                <a:gd name="T26" fmla="*/ 14 w 58"/>
                <a:gd name="T27" fmla="*/ 2 h 19"/>
                <a:gd name="T28" fmla="*/ 8 w 58"/>
                <a:gd name="T2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19">
                  <a:moveTo>
                    <a:pt x="8" y="0"/>
                  </a:moveTo>
                  <a:cubicBezTo>
                    <a:pt x="7" y="0"/>
                    <a:pt x="5" y="0"/>
                    <a:pt x="4" y="1"/>
                  </a:cubicBezTo>
                  <a:cubicBezTo>
                    <a:pt x="1" y="4"/>
                    <a:pt x="0" y="9"/>
                    <a:pt x="3" y="12"/>
                  </a:cubicBezTo>
                  <a:cubicBezTo>
                    <a:pt x="7" y="16"/>
                    <a:pt x="12" y="19"/>
                    <a:pt x="18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6" y="19"/>
                    <a:pt x="52" y="16"/>
                    <a:pt x="56" y="12"/>
                  </a:cubicBezTo>
                  <a:cubicBezTo>
                    <a:pt x="58" y="9"/>
                    <a:pt x="58" y="4"/>
                    <a:pt x="55" y="1"/>
                  </a:cubicBezTo>
                  <a:cubicBezTo>
                    <a:pt x="53" y="0"/>
                    <a:pt x="52" y="0"/>
                    <a:pt x="50" y="0"/>
                  </a:cubicBezTo>
                  <a:cubicBezTo>
                    <a:pt x="48" y="0"/>
                    <a:pt x="46" y="1"/>
                    <a:pt x="44" y="2"/>
                  </a:cubicBezTo>
                  <a:cubicBezTo>
                    <a:pt x="43" y="3"/>
                    <a:pt x="42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7" y="4"/>
                  </a:cubicBezTo>
                  <a:cubicBezTo>
                    <a:pt x="16" y="4"/>
                    <a:pt x="15" y="3"/>
                    <a:pt x="14" y="2"/>
                  </a:cubicBezTo>
                  <a:cubicBezTo>
                    <a:pt x="13" y="1"/>
                    <a:pt x="11" y="0"/>
                    <a:pt x="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1" name="任意多边形: 形状 1470"/>
            <p:cNvSpPr/>
            <p:nvPr>
              <p:custDataLst>
                <p:tags r:id="rId63"/>
              </p:custDataLst>
            </p:nvPr>
          </p:nvSpPr>
          <p:spPr bwMode="auto">
            <a:xfrm flipH="1">
              <a:off x="1961071" y="5832398"/>
              <a:ext cx="124914" cy="38685"/>
            </a:xfrm>
            <a:custGeom>
              <a:avLst/>
              <a:gdLst>
                <a:gd name="T0" fmla="*/ 13 w 58"/>
                <a:gd name="T1" fmla="*/ 2 h 19"/>
                <a:gd name="T2" fmla="*/ 13 w 58"/>
                <a:gd name="T3" fmla="*/ 2 h 19"/>
                <a:gd name="T4" fmla="*/ 13 w 58"/>
                <a:gd name="T5" fmla="*/ 1 h 19"/>
                <a:gd name="T6" fmla="*/ 13 w 58"/>
                <a:gd name="T7" fmla="*/ 1 h 19"/>
                <a:gd name="T8" fmla="*/ 12 w 58"/>
                <a:gd name="T9" fmla="*/ 1 h 19"/>
                <a:gd name="T10" fmla="*/ 12 w 58"/>
                <a:gd name="T11" fmla="*/ 1 h 19"/>
                <a:gd name="T12" fmla="*/ 12 w 58"/>
                <a:gd name="T13" fmla="*/ 0 h 19"/>
                <a:gd name="T14" fmla="*/ 11 w 58"/>
                <a:gd name="T15" fmla="*/ 0 h 19"/>
                <a:gd name="T16" fmla="*/ 11 w 58"/>
                <a:gd name="T17" fmla="*/ 0 h 19"/>
                <a:gd name="T18" fmla="*/ 11 w 58"/>
                <a:gd name="T19" fmla="*/ 0 h 19"/>
                <a:gd name="T20" fmla="*/ 10 w 58"/>
                <a:gd name="T21" fmla="*/ 0 h 19"/>
                <a:gd name="T22" fmla="*/ 10 w 58"/>
                <a:gd name="T23" fmla="*/ 0 h 19"/>
                <a:gd name="T24" fmla="*/ 9 w 58"/>
                <a:gd name="T25" fmla="*/ 0 h 19"/>
                <a:gd name="T26" fmla="*/ 9 w 58"/>
                <a:gd name="T27" fmla="*/ 0 h 19"/>
                <a:gd name="T28" fmla="*/ 9 w 58"/>
                <a:gd name="T29" fmla="*/ 0 h 19"/>
                <a:gd name="T30" fmla="*/ 8 w 58"/>
                <a:gd name="T31" fmla="*/ 0 h 19"/>
                <a:gd name="T32" fmla="*/ 8 w 58"/>
                <a:gd name="T33" fmla="*/ 0 h 19"/>
                <a:gd name="T34" fmla="*/ 7 w 58"/>
                <a:gd name="T35" fmla="*/ 0 h 19"/>
                <a:gd name="T36" fmla="*/ 7 w 58"/>
                <a:gd name="T37" fmla="*/ 0 h 19"/>
                <a:gd name="T38" fmla="*/ 6 w 58"/>
                <a:gd name="T39" fmla="*/ 0 h 19"/>
                <a:gd name="T40" fmla="*/ 6 w 58"/>
                <a:gd name="T41" fmla="*/ 0 h 19"/>
                <a:gd name="T42" fmla="*/ 5 w 58"/>
                <a:gd name="T43" fmla="*/ 1 h 19"/>
                <a:gd name="T44" fmla="*/ 5 w 58"/>
                <a:gd name="T45" fmla="*/ 1 h 19"/>
                <a:gd name="T46" fmla="*/ 4 w 58"/>
                <a:gd name="T47" fmla="*/ 1 h 19"/>
                <a:gd name="T48" fmla="*/ 3 w 58"/>
                <a:gd name="T49" fmla="*/ 12 h 19"/>
                <a:gd name="T50" fmla="*/ 18 w 58"/>
                <a:gd name="T51" fmla="*/ 19 h 19"/>
                <a:gd name="T52" fmla="*/ 40 w 58"/>
                <a:gd name="T53" fmla="*/ 19 h 19"/>
                <a:gd name="T54" fmla="*/ 56 w 58"/>
                <a:gd name="T55" fmla="*/ 12 h 19"/>
                <a:gd name="T56" fmla="*/ 55 w 58"/>
                <a:gd name="T57" fmla="*/ 1 h 19"/>
                <a:gd name="T58" fmla="*/ 54 w 58"/>
                <a:gd name="T59" fmla="*/ 1 h 19"/>
                <a:gd name="T60" fmla="*/ 53 w 58"/>
                <a:gd name="T61" fmla="*/ 1 h 19"/>
                <a:gd name="T62" fmla="*/ 52 w 58"/>
                <a:gd name="T63" fmla="*/ 0 h 19"/>
                <a:gd name="T64" fmla="*/ 52 w 58"/>
                <a:gd name="T65" fmla="*/ 0 h 19"/>
                <a:gd name="T66" fmla="*/ 51 w 58"/>
                <a:gd name="T67" fmla="*/ 0 h 19"/>
                <a:gd name="T68" fmla="*/ 51 w 58"/>
                <a:gd name="T69" fmla="*/ 0 h 19"/>
                <a:gd name="T70" fmla="*/ 50 w 58"/>
                <a:gd name="T71" fmla="*/ 0 h 19"/>
                <a:gd name="T72" fmla="*/ 50 w 58"/>
                <a:gd name="T73" fmla="*/ 0 h 19"/>
                <a:gd name="T74" fmla="*/ 50 w 58"/>
                <a:gd name="T75" fmla="*/ 0 h 19"/>
                <a:gd name="T76" fmla="*/ 49 w 58"/>
                <a:gd name="T77" fmla="*/ 0 h 19"/>
                <a:gd name="T78" fmla="*/ 49 w 58"/>
                <a:gd name="T79" fmla="*/ 0 h 19"/>
                <a:gd name="T80" fmla="*/ 48 w 58"/>
                <a:gd name="T81" fmla="*/ 0 h 19"/>
                <a:gd name="T82" fmla="*/ 48 w 58"/>
                <a:gd name="T83" fmla="*/ 0 h 19"/>
                <a:gd name="T84" fmla="*/ 48 w 58"/>
                <a:gd name="T85" fmla="*/ 0 h 19"/>
                <a:gd name="T86" fmla="*/ 47 w 58"/>
                <a:gd name="T87" fmla="*/ 0 h 19"/>
                <a:gd name="T88" fmla="*/ 47 w 58"/>
                <a:gd name="T89" fmla="*/ 0 h 19"/>
                <a:gd name="T90" fmla="*/ 47 w 58"/>
                <a:gd name="T91" fmla="*/ 0 h 19"/>
                <a:gd name="T92" fmla="*/ 46 w 58"/>
                <a:gd name="T93" fmla="*/ 1 h 19"/>
                <a:gd name="T94" fmla="*/ 46 w 58"/>
                <a:gd name="T95" fmla="*/ 1 h 19"/>
                <a:gd name="T96" fmla="*/ 46 w 58"/>
                <a:gd name="T97" fmla="*/ 1 h 19"/>
                <a:gd name="T98" fmla="*/ 45 w 58"/>
                <a:gd name="T99" fmla="*/ 1 h 19"/>
                <a:gd name="T100" fmla="*/ 45 w 58"/>
                <a:gd name="T101" fmla="*/ 2 h 19"/>
                <a:gd name="T102" fmla="*/ 45 w 58"/>
                <a:gd name="T103" fmla="*/ 2 h 19"/>
                <a:gd name="T104" fmla="*/ 44 w 58"/>
                <a:gd name="T105" fmla="*/ 2 h 19"/>
                <a:gd name="T106" fmla="*/ 41 w 58"/>
                <a:gd name="T107" fmla="*/ 4 h 19"/>
                <a:gd name="T108" fmla="*/ 40 w 58"/>
                <a:gd name="T109" fmla="*/ 4 h 19"/>
                <a:gd name="T110" fmla="*/ 18 w 58"/>
                <a:gd name="T111" fmla="*/ 4 h 19"/>
                <a:gd name="T112" fmla="*/ 17 w 58"/>
                <a:gd name="T113" fmla="*/ 4 h 19"/>
                <a:gd name="T114" fmla="*/ 14 w 58"/>
                <a:gd name="T115" fmla="*/ 2 h 19"/>
                <a:gd name="T116" fmla="*/ 13 w 58"/>
                <a:gd name="T11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" h="19">
                  <a:moveTo>
                    <a:pt x="13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1" y="4"/>
                    <a:pt x="0" y="9"/>
                    <a:pt x="3" y="12"/>
                  </a:cubicBezTo>
                  <a:cubicBezTo>
                    <a:pt x="6" y="16"/>
                    <a:pt x="12" y="19"/>
                    <a:pt x="18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6" y="19"/>
                    <a:pt x="52" y="16"/>
                    <a:pt x="56" y="12"/>
                  </a:cubicBezTo>
                  <a:cubicBezTo>
                    <a:pt x="58" y="9"/>
                    <a:pt x="58" y="4"/>
                    <a:pt x="55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3" y="1"/>
                    <a:pt x="53" y="1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5" y="1"/>
                    <a:pt x="45" y="1"/>
                  </a:cubicBezTo>
                  <a:cubicBezTo>
                    <a:pt x="45" y="1"/>
                    <a:pt x="45" y="1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4" y="2"/>
                    <a:pt x="44" y="2"/>
                  </a:cubicBezTo>
                  <a:cubicBezTo>
                    <a:pt x="43" y="3"/>
                    <a:pt x="42" y="4"/>
                    <a:pt x="41" y="4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7" y="4"/>
                    <a:pt x="17" y="4"/>
                  </a:cubicBezTo>
                  <a:cubicBezTo>
                    <a:pt x="16" y="4"/>
                    <a:pt x="15" y="3"/>
                    <a:pt x="14" y="2"/>
                  </a:cubicBezTo>
                  <a:cubicBezTo>
                    <a:pt x="14" y="2"/>
                    <a:pt x="14" y="2"/>
                    <a:pt x="13" y="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2" name="任意多边形: 形状 1471"/>
            <p:cNvSpPr/>
            <p:nvPr>
              <p:custDataLst>
                <p:tags r:id="rId64"/>
              </p:custDataLst>
            </p:nvPr>
          </p:nvSpPr>
          <p:spPr bwMode="auto">
            <a:xfrm flipH="1">
              <a:off x="1828863" y="5832398"/>
              <a:ext cx="124914" cy="38685"/>
            </a:xfrm>
            <a:custGeom>
              <a:avLst/>
              <a:gdLst>
                <a:gd name="T0" fmla="*/ 14 w 58"/>
                <a:gd name="T1" fmla="*/ 2 h 19"/>
                <a:gd name="T2" fmla="*/ 8 w 58"/>
                <a:gd name="T3" fmla="*/ 0 h 19"/>
                <a:gd name="T4" fmla="*/ 3 w 58"/>
                <a:gd name="T5" fmla="*/ 1 h 19"/>
                <a:gd name="T6" fmla="*/ 3 w 58"/>
                <a:gd name="T7" fmla="*/ 12 h 19"/>
                <a:gd name="T8" fmla="*/ 18 w 58"/>
                <a:gd name="T9" fmla="*/ 19 h 19"/>
                <a:gd name="T10" fmla="*/ 40 w 58"/>
                <a:gd name="T11" fmla="*/ 19 h 19"/>
                <a:gd name="T12" fmla="*/ 55 w 58"/>
                <a:gd name="T13" fmla="*/ 12 h 19"/>
                <a:gd name="T14" fmla="*/ 54 w 58"/>
                <a:gd name="T15" fmla="*/ 1 h 19"/>
                <a:gd name="T16" fmla="*/ 50 w 58"/>
                <a:gd name="T17" fmla="*/ 0 h 19"/>
                <a:gd name="T18" fmla="*/ 44 w 58"/>
                <a:gd name="T19" fmla="*/ 2 h 19"/>
                <a:gd name="T20" fmla="*/ 42 w 58"/>
                <a:gd name="T21" fmla="*/ 4 h 19"/>
                <a:gd name="T22" fmla="*/ 40 w 58"/>
                <a:gd name="T23" fmla="*/ 4 h 19"/>
                <a:gd name="T24" fmla="*/ 18 w 58"/>
                <a:gd name="T25" fmla="*/ 4 h 19"/>
                <a:gd name="T26" fmla="*/ 18 w 58"/>
                <a:gd name="T27" fmla="*/ 4 h 19"/>
                <a:gd name="T28" fmla="*/ 14 w 58"/>
                <a:gd name="T2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19">
                  <a:moveTo>
                    <a:pt x="14" y="2"/>
                  </a:moveTo>
                  <a:cubicBezTo>
                    <a:pt x="12" y="1"/>
                    <a:pt x="10" y="0"/>
                    <a:pt x="8" y="0"/>
                  </a:cubicBezTo>
                  <a:cubicBezTo>
                    <a:pt x="7" y="0"/>
                    <a:pt x="5" y="0"/>
                    <a:pt x="3" y="1"/>
                  </a:cubicBezTo>
                  <a:cubicBezTo>
                    <a:pt x="0" y="4"/>
                    <a:pt x="0" y="9"/>
                    <a:pt x="3" y="12"/>
                  </a:cubicBezTo>
                  <a:cubicBezTo>
                    <a:pt x="6" y="16"/>
                    <a:pt x="12" y="19"/>
                    <a:pt x="18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6" y="19"/>
                    <a:pt x="52" y="16"/>
                    <a:pt x="55" y="12"/>
                  </a:cubicBezTo>
                  <a:cubicBezTo>
                    <a:pt x="58" y="9"/>
                    <a:pt x="58" y="4"/>
                    <a:pt x="54" y="1"/>
                  </a:cubicBezTo>
                  <a:cubicBezTo>
                    <a:pt x="53" y="0"/>
                    <a:pt x="51" y="0"/>
                    <a:pt x="50" y="0"/>
                  </a:cubicBezTo>
                  <a:cubicBezTo>
                    <a:pt x="48" y="0"/>
                    <a:pt x="46" y="1"/>
                    <a:pt x="44" y="2"/>
                  </a:cubicBezTo>
                  <a:cubicBezTo>
                    <a:pt x="43" y="3"/>
                    <a:pt x="43" y="4"/>
                    <a:pt x="42" y="4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5" y="3"/>
                    <a:pt x="14" y="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3" name="任意多边形: 形状 1472"/>
            <p:cNvSpPr/>
            <p:nvPr>
              <p:custDataLst>
                <p:tags r:id="rId65"/>
              </p:custDataLst>
            </p:nvPr>
          </p:nvSpPr>
          <p:spPr bwMode="auto">
            <a:xfrm flipH="1">
              <a:off x="2137956" y="2251921"/>
              <a:ext cx="330064" cy="294863"/>
            </a:xfrm>
            <a:custGeom>
              <a:avLst/>
              <a:gdLst>
                <a:gd name="T0" fmla="*/ 26 w 153"/>
                <a:gd name="T1" fmla="*/ 145 h 145"/>
                <a:gd name="T2" fmla="*/ 52 w 153"/>
                <a:gd name="T3" fmla="*/ 119 h 145"/>
                <a:gd name="T4" fmla="*/ 52 w 153"/>
                <a:gd name="T5" fmla="*/ 119 h 145"/>
                <a:gd name="T6" fmla="*/ 52 w 153"/>
                <a:gd name="T7" fmla="*/ 33 h 145"/>
                <a:gd name="T8" fmla="*/ 137 w 153"/>
                <a:gd name="T9" fmla="*/ 33 h 145"/>
                <a:gd name="T10" fmla="*/ 137 w 153"/>
                <a:gd name="T11" fmla="*/ 94 h 145"/>
                <a:gd name="T12" fmla="*/ 127 w 153"/>
                <a:gd name="T13" fmla="*/ 93 h 145"/>
                <a:gd name="T14" fmla="*/ 101 w 153"/>
                <a:gd name="T15" fmla="*/ 119 h 145"/>
                <a:gd name="T16" fmla="*/ 127 w 153"/>
                <a:gd name="T17" fmla="*/ 145 h 145"/>
                <a:gd name="T18" fmla="*/ 153 w 153"/>
                <a:gd name="T19" fmla="*/ 119 h 145"/>
                <a:gd name="T20" fmla="*/ 153 w 153"/>
                <a:gd name="T21" fmla="*/ 119 h 145"/>
                <a:gd name="T22" fmla="*/ 153 w 153"/>
                <a:gd name="T23" fmla="*/ 119 h 145"/>
                <a:gd name="T24" fmla="*/ 153 w 153"/>
                <a:gd name="T25" fmla="*/ 33 h 145"/>
                <a:gd name="T26" fmla="*/ 153 w 153"/>
                <a:gd name="T27" fmla="*/ 0 h 145"/>
                <a:gd name="T28" fmla="*/ 137 w 153"/>
                <a:gd name="T29" fmla="*/ 0 h 145"/>
                <a:gd name="T30" fmla="*/ 52 w 153"/>
                <a:gd name="T31" fmla="*/ 0 h 145"/>
                <a:gd name="T32" fmla="*/ 36 w 153"/>
                <a:gd name="T33" fmla="*/ 0 h 145"/>
                <a:gd name="T34" fmla="*/ 36 w 153"/>
                <a:gd name="T35" fmla="*/ 33 h 145"/>
                <a:gd name="T36" fmla="*/ 36 w 153"/>
                <a:gd name="T37" fmla="*/ 94 h 145"/>
                <a:gd name="T38" fmla="*/ 26 w 153"/>
                <a:gd name="T39" fmla="*/ 93 h 145"/>
                <a:gd name="T40" fmla="*/ 0 w 153"/>
                <a:gd name="T41" fmla="*/ 119 h 145"/>
                <a:gd name="T42" fmla="*/ 26 w 153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3" h="145">
                  <a:moveTo>
                    <a:pt x="26" y="145"/>
                  </a:moveTo>
                  <a:cubicBezTo>
                    <a:pt x="40" y="145"/>
                    <a:pt x="52" y="133"/>
                    <a:pt x="52" y="119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4" y="93"/>
                    <a:pt x="130" y="93"/>
                    <a:pt x="127" y="93"/>
                  </a:cubicBezTo>
                  <a:cubicBezTo>
                    <a:pt x="112" y="93"/>
                    <a:pt x="101" y="104"/>
                    <a:pt x="101" y="119"/>
                  </a:cubicBezTo>
                  <a:cubicBezTo>
                    <a:pt x="101" y="133"/>
                    <a:pt x="112" y="145"/>
                    <a:pt x="127" y="145"/>
                  </a:cubicBezTo>
                  <a:cubicBezTo>
                    <a:pt x="141" y="145"/>
                    <a:pt x="153" y="133"/>
                    <a:pt x="153" y="119"/>
                  </a:cubicBezTo>
                  <a:cubicBezTo>
                    <a:pt x="153" y="119"/>
                    <a:pt x="153" y="119"/>
                    <a:pt x="153" y="119"/>
                  </a:cubicBezTo>
                  <a:cubicBezTo>
                    <a:pt x="153" y="119"/>
                    <a:pt x="153" y="119"/>
                    <a:pt x="153" y="11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3" y="93"/>
                    <a:pt x="29" y="93"/>
                    <a:pt x="26" y="93"/>
                  </a:cubicBezTo>
                  <a:cubicBezTo>
                    <a:pt x="11" y="93"/>
                    <a:pt x="0" y="104"/>
                    <a:pt x="0" y="119"/>
                  </a:cubicBezTo>
                  <a:cubicBezTo>
                    <a:pt x="0" y="133"/>
                    <a:pt x="11" y="145"/>
                    <a:pt x="26" y="14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4" name="任意多边形: 形状 1473"/>
            <p:cNvSpPr/>
            <p:nvPr>
              <p:custDataLst>
                <p:tags r:id="rId66"/>
              </p:custDataLst>
            </p:nvPr>
          </p:nvSpPr>
          <p:spPr bwMode="auto">
            <a:xfrm flipH="1">
              <a:off x="1455945" y="5806608"/>
              <a:ext cx="112149" cy="34386"/>
            </a:xfrm>
            <a:custGeom>
              <a:avLst/>
              <a:gdLst>
                <a:gd name="T0" fmla="*/ 3 w 123"/>
                <a:gd name="T1" fmla="*/ 0 h 40"/>
                <a:gd name="T2" fmla="*/ 0 w 123"/>
                <a:gd name="T3" fmla="*/ 40 h 40"/>
                <a:gd name="T4" fmla="*/ 123 w 123"/>
                <a:gd name="T5" fmla="*/ 40 h 40"/>
                <a:gd name="T6" fmla="*/ 121 w 123"/>
                <a:gd name="T7" fmla="*/ 0 h 40"/>
                <a:gd name="T8" fmla="*/ 3 w 123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40">
                  <a:moveTo>
                    <a:pt x="3" y="0"/>
                  </a:moveTo>
                  <a:lnTo>
                    <a:pt x="0" y="40"/>
                  </a:lnTo>
                  <a:lnTo>
                    <a:pt x="123" y="40"/>
                  </a:lnTo>
                  <a:lnTo>
                    <a:pt x="12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5" name="任意多边形: 形状 1474"/>
            <p:cNvSpPr/>
            <p:nvPr>
              <p:custDataLst>
                <p:tags r:id="rId67"/>
              </p:custDataLst>
            </p:nvPr>
          </p:nvSpPr>
          <p:spPr bwMode="auto">
            <a:xfrm flipH="1">
              <a:off x="1353826" y="5613185"/>
              <a:ext cx="313652" cy="183108"/>
            </a:xfrm>
            <a:custGeom>
              <a:avLst/>
              <a:gdLst>
                <a:gd name="T0" fmla="*/ 230 w 344"/>
                <a:gd name="T1" fmla="*/ 213 h 213"/>
                <a:gd name="T2" fmla="*/ 344 w 344"/>
                <a:gd name="T3" fmla="*/ 213 h 213"/>
                <a:gd name="T4" fmla="*/ 344 w 344"/>
                <a:gd name="T5" fmla="*/ 0 h 213"/>
                <a:gd name="T6" fmla="*/ 171 w 344"/>
                <a:gd name="T7" fmla="*/ 0 h 213"/>
                <a:gd name="T8" fmla="*/ 171 w 344"/>
                <a:gd name="T9" fmla="*/ 26 h 213"/>
                <a:gd name="T10" fmla="*/ 313 w 344"/>
                <a:gd name="T11" fmla="*/ 26 h 213"/>
                <a:gd name="T12" fmla="*/ 313 w 344"/>
                <a:gd name="T13" fmla="*/ 187 h 213"/>
                <a:gd name="T14" fmla="*/ 228 w 344"/>
                <a:gd name="T15" fmla="*/ 187 h 213"/>
                <a:gd name="T16" fmla="*/ 171 w 344"/>
                <a:gd name="T17" fmla="*/ 187 h 213"/>
                <a:gd name="T18" fmla="*/ 171 w 344"/>
                <a:gd name="T19" fmla="*/ 213 h 213"/>
                <a:gd name="T20" fmla="*/ 230 w 344"/>
                <a:gd name="T21" fmla="*/ 213 h 213"/>
                <a:gd name="T22" fmla="*/ 171 w 344"/>
                <a:gd name="T23" fmla="*/ 0 h 213"/>
                <a:gd name="T24" fmla="*/ 0 w 344"/>
                <a:gd name="T25" fmla="*/ 0 h 213"/>
                <a:gd name="T26" fmla="*/ 0 w 344"/>
                <a:gd name="T27" fmla="*/ 213 h 213"/>
                <a:gd name="T28" fmla="*/ 112 w 344"/>
                <a:gd name="T29" fmla="*/ 213 h 213"/>
                <a:gd name="T30" fmla="*/ 171 w 344"/>
                <a:gd name="T31" fmla="*/ 213 h 213"/>
                <a:gd name="T32" fmla="*/ 171 w 344"/>
                <a:gd name="T33" fmla="*/ 187 h 213"/>
                <a:gd name="T34" fmla="*/ 114 w 344"/>
                <a:gd name="T35" fmla="*/ 187 h 213"/>
                <a:gd name="T36" fmla="*/ 31 w 344"/>
                <a:gd name="T37" fmla="*/ 187 h 213"/>
                <a:gd name="T38" fmla="*/ 31 w 344"/>
                <a:gd name="T39" fmla="*/ 187 h 213"/>
                <a:gd name="T40" fmla="*/ 31 w 344"/>
                <a:gd name="T41" fmla="*/ 26 h 213"/>
                <a:gd name="T42" fmla="*/ 171 w 344"/>
                <a:gd name="T43" fmla="*/ 26 h 213"/>
                <a:gd name="T44" fmla="*/ 171 w 344"/>
                <a:gd name="T45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4" h="213">
                  <a:moveTo>
                    <a:pt x="230" y="213"/>
                  </a:moveTo>
                  <a:lnTo>
                    <a:pt x="344" y="213"/>
                  </a:lnTo>
                  <a:lnTo>
                    <a:pt x="344" y="0"/>
                  </a:lnTo>
                  <a:lnTo>
                    <a:pt x="171" y="0"/>
                  </a:lnTo>
                  <a:lnTo>
                    <a:pt x="171" y="26"/>
                  </a:lnTo>
                  <a:lnTo>
                    <a:pt x="313" y="26"/>
                  </a:lnTo>
                  <a:lnTo>
                    <a:pt x="313" y="187"/>
                  </a:lnTo>
                  <a:lnTo>
                    <a:pt x="228" y="187"/>
                  </a:lnTo>
                  <a:lnTo>
                    <a:pt x="171" y="187"/>
                  </a:lnTo>
                  <a:lnTo>
                    <a:pt x="171" y="213"/>
                  </a:lnTo>
                  <a:lnTo>
                    <a:pt x="230" y="213"/>
                  </a:lnTo>
                  <a:close/>
                  <a:moveTo>
                    <a:pt x="171" y="0"/>
                  </a:moveTo>
                  <a:lnTo>
                    <a:pt x="0" y="0"/>
                  </a:lnTo>
                  <a:lnTo>
                    <a:pt x="0" y="213"/>
                  </a:lnTo>
                  <a:lnTo>
                    <a:pt x="112" y="213"/>
                  </a:lnTo>
                  <a:lnTo>
                    <a:pt x="171" y="213"/>
                  </a:lnTo>
                  <a:lnTo>
                    <a:pt x="171" y="187"/>
                  </a:lnTo>
                  <a:lnTo>
                    <a:pt x="114" y="187"/>
                  </a:lnTo>
                  <a:lnTo>
                    <a:pt x="31" y="187"/>
                  </a:lnTo>
                  <a:lnTo>
                    <a:pt x="31" y="187"/>
                  </a:lnTo>
                  <a:lnTo>
                    <a:pt x="31" y="26"/>
                  </a:lnTo>
                  <a:lnTo>
                    <a:pt x="171" y="26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6" name="任意多边形: 形状 1475"/>
            <p:cNvSpPr/>
            <p:nvPr>
              <p:custDataLst>
                <p:tags r:id="rId68"/>
              </p:custDataLst>
            </p:nvPr>
          </p:nvSpPr>
          <p:spPr bwMode="auto">
            <a:xfrm flipH="1">
              <a:off x="1434063" y="5851310"/>
              <a:ext cx="155002" cy="13755"/>
            </a:xfrm>
            <a:custGeom>
              <a:avLst/>
              <a:gdLst>
                <a:gd name="T0" fmla="*/ 0 w 170"/>
                <a:gd name="T1" fmla="*/ 0 h 16"/>
                <a:gd name="T2" fmla="*/ 0 w 170"/>
                <a:gd name="T3" fmla="*/ 16 h 16"/>
                <a:gd name="T4" fmla="*/ 170 w 170"/>
                <a:gd name="T5" fmla="*/ 16 h 16"/>
                <a:gd name="T6" fmla="*/ 170 w 170"/>
                <a:gd name="T7" fmla="*/ 0 h 16"/>
                <a:gd name="T8" fmla="*/ 146 w 170"/>
                <a:gd name="T9" fmla="*/ 0 h 16"/>
                <a:gd name="T10" fmla="*/ 23 w 170"/>
                <a:gd name="T11" fmla="*/ 0 h 16"/>
                <a:gd name="T12" fmla="*/ 0 w 170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6">
                  <a:moveTo>
                    <a:pt x="0" y="0"/>
                  </a:moveTo>
                  <a:lnTo>
                    <a:pt x="0" y="16"/>
                  </a:lnTo>
                  <a:lnTo>
                    <a:pt x="170" y="16"/>
                  </a:lnTo>
                  <a:lnTo>
                    <a:pt x="170" y="0"/>
                  </a:lnTo>
                  <a:lnTo>
                    <a:pt x="146" y="0"/>
                  </a:lnTo>
                  <a:lnTo>
                    <a:pt x="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7" name="任意多边形: 形状 1476"/>
            <p:cNvSpPr/>
            <p:nvPr>
              <p:custDataLst>
                <p:tags r:id="rId69"/>
              </p:custDataLst>
            </p:nvPr>
          </p:nvSpPr>
          <p:spPr bwMode="auto">
            <a:xfrm flipH="1">
              <a:off x="3221149" y="5912346"/>
              <a:ext cx="134032" cy="281968"/>
            </a:xfrm>
            <a:custGeom>
              <a:avLst/>
              <a:gdLst>
                <a:gd name="T0" fmla="*/ 31 w 62"/>
                <a:gd name="T1" fmla="*/ 120 h 139"/>
                <a:gd name="T2" fmla="*/ 31 w 62"/>
                <a:gd name="T3" fmla="*/ 120 h 139"/>
                <a:gd name="T4" fmla="*/ 60 w 62"/>
                <a:gd name="T5" fmla="*/ 135 h 139"/>
                <a:gd name="T6" fmla="*/ 61 w 62"/>
                <a:gd name="T7" fmla="*/ 135 h 139"/>
                <a:gd name="T8" fmla="*/ 61 w 62"/>
                <a:gd name="T9" fmla="*/ 36 h 139"/>
                <a:gd name="T10" fmla="*/ 60 w 62"/>
                <a:gd name="T11" fmla="*/ 22 h 139"/>
                <a:gd name="T12" fmla="*/ 52 w 62"/>
                <a:gd name="T13" fmla="*/ 12 h 139"/>
                <a:gd name="T14" fmla="*/ 52 w 62"/>
                <a:gd name="T15" fmla="*/ 4 h 139"/>
                <a:gd name="T16" fmla="*/ 52 w 62"/>
                <a:gd name="T17" fmla="*/ 0 h 139"/>
                <a:gd name="T18" fmla="*/ 48 w 62"/>
                <a:gd name="T19" fmla="*/ 0 h 139"/>
                <a:gd name="T20" fmla="*/ 31 w 62"/>
                <a:gd name="T21" fmla="*/ 0 h 139"/>
                <a:gd name="T22" fmla="*/ 31 w 62"/>
                <a:gd name="T23" fmla="*/ 4 h 139"/>
                <a:gd name="T24" fmla="*/ 48 w 62"/>
                <a:gd name="T25" fmla="*/ 4 h 139"/>
                <a:gd name="T26" fmla="*/ 48 w 62"/>
                <a:gd name="T27" fmla="*/ 10 h 139"/>
                <a:gd name="T28" fmla="*/ 48 w 62"/>
                <a:gd name="T29" fmla="*/ 58 h 139"/>
                <a:gd name="T30" fmla="*/ 31 w 62"/>
                <a:gd name="T31" fmla="*/ 40 h 139"/>
                <a:gd name="T32" fmla="*/ 31 w 62"/>
                <a:gd name="T33" fmla="*/ 41 h 139"/>
                <a:gd name="T34" fmla="*/ 31 w 62"/>
                <a:gd name="T35" fmla="*/ 120 h 139"/>
                <a:gd name="T36" fmla="*/ 1 w 62"/>
                <a:gd name="T37" fmla="*/ 135 h 139"/>
                <a:gd name="T38" fmla="*/ 31 w 62"/>
                <a:gd name="T39" fmla="*/ 120 h 139"/>
                <a:gd name="T40" fmla="*/ 31 w 62"/>
                <a:gd name="T41" fmla="*/ 41 h 139"/>
                <a:gd name="T42" fmla="*/ 13 w 62"/>
                <a:gd name="T43" fmla="*/ 58 h 139"/>
                <a:gd name="T44" fmla="*/ 13 w 62"/>
                <a:gd name="T45" fmla="*/ 10 h 139"/>
                <a:gd name="T46" fmla="*/ 13 w 62"/>
                <a:gd name="T47" fmla="*/ 10 h 139"/>
                <a:gd name="T48" fmla="*/ 13 w 62"/>
                <a:gd name="T49" fmla="*/ 10 h 139"/>
                <a:gd name="T50" fmla="*/ 13 w 62"/>
                <a:gd name="T51" fmla="*/ 4 h 139"/>
                <a:gd name="T52" fmla="*/ 31 w 62"/>
                <a:gd name="T53" fmla="*/ 4 h 139"/>
                <a:gd name="T54" fmla="*/ 31 w 62"/>
                <a:gd name="T55" fmla="*/ 0 h 139"/>
                <a:gd name="T56" fmla="*/ 13 w 62"/>
                <a:gd name="T57" fmla="*/ 0 h 139"/>
                <a:gd name="T58" fmla="*/ 9 w 62"/>
                <a:gd name="T59" fmla="*/ 0 h 139"/>
                <a:gd name="T60" fmla="*/ 9 w 62"/>
                <a:gd name="T61" fmla="*/ 4 h 139"/>
                <a:gd name="T62" fmla="*/ 9 w 62"/>
                <a:gd name="T63" fmla="*/ 12 h 139"/>
                <a:gd name="T64" fmla="*/ 1 w 62"/>
                <a:gd name="T65" fmla="*/ 22 h 139"/>
                <a:gd name="T66" fmla="*/ 0 w 62"/>
                <a:gd name="T67" fmla="*/ 36 h 139"/>
                <a:gd name="T68" fmla="*/ 0 w 62"/>
                <a:gd name="T69" fmla="*/ 135 h 139"/>
                <a:gd name="T70" fmla="*/ 1 w 62"/>
                <a:gd name="T71" fmla="*/ 13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2" h="139">
                  <a:moveTo>
                    <a:pt x="31" y="120"/>
                  </a:moveTo>
                  <a:cubicBezTo>
                    <a:pt x="31" y="120"/>
                    <a:pt x="31" y="120"/>
                    <a:pt x="31" y="120"/>
                  </a:cubicBezTo>
                  <a:cubicBezTo>
                    <a:pt x="45" y="120"/>
                    <a:pt x="57" y="123"/>
                    <a:pt x="60" y="135"/>
                  </a:cubicBezTo>
                  <a:cubicBezTo>
                    <a:pt x="62" y="139"/>
                    <a:pt x="61" y="139"/>
                    <a:pt x="61" y="135"/>
                  </a:cubicBezTo>
                  <a:cubicBezTo>
                    <a:pt x="61" y="114"/>
                    <a:pt x="61" y="57"/>
                    <a:pt x="61" y="36"/>
                  </a:cubicBezTo>
                  <a:cubicBezTo>
                    <a:pt x="61" y="32"/>
                    <a:pt x="62" y="26"/>
                    <a:pt x="60" y="22"/>
                  </a:cubicBezTo>
                  <a:cubicBezTo>
                    <a:pt x="59" y="17"/>
                    <a:pt x="56" y="14"/>
                    <a:pt x="52" y="12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1"/>
                    <a:pt x="31" y="41"/>
                    <a:pt x="31" y="41"/>
                  </a:cubicBezTo>
                  <a:lnTo>
                    <a:pt x="31" y="120"/>
                  </a:lnTo>
                  <a:close/>
                  <a:moveTo>
                    <a:pt x="1" y="135"/>
                  </a:moveTo>
                  <a:cubicBezTo>
                    <a:pt x="4" y="123"/>
                    <a:pt x="16" y="120"/>
                    <a:pt x="31" y="120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5" y="14"/>
                    <a:pt x="2" y="17"/>
                    <a:pt x="1" y="22"/>
                  </a:cubicBezTo>
                  <a:cubicBezTo>
                    <a:pt x="0" y="26"/>
                    <a:pt x="0" y="32"/>
                    <a:pt x="0" y="36"/>
                  </a:cubicBezTo>
                  <a:cubicBezTo>
                    <a:pt x="0" y="57"/>
                    <a:pt x="0" y="114"/>
                    <a:pt x="0" y="135"/>
                  </a:cubicBezTo>
                  <a:cubicBezTo>
                    <a:pt x="0" y="139"/>
                    <a:pt x="0" y="139"/>
                    <a:pt x="1" y="13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8" name="任意多边形: 形状 1477"/>
            <p:cNvSpPr/>
            <p:nvPr>
              <p:custDataLst>
                <p:tags r:id="rId70"/>
              </p:custDataLst>
            </p:nvPr>
          </p:nvSpPr>
          <p:spPr bwMode="auto">
            <a:xfrm flipH="1">
              <a:off x="3078912" y="5928679"/>
              <a:ext cx="135855" cy="265635"/>
            </a:xfrm>
            <a:custGeom>
              <a:avLst/>
              <a:gdLst>
                <a:gd name="T0" fmla="*/ 2 w 63"/>
                <a:gd name="T1" fmla="*/ 127 h 131"/>
                <a:gd name="T2" fmla="*/ 32 w 63"/>
                <a:gd name="T3" fmla="*/ 112 h 131"/>
                <a:gd name="T4" fmla="*/ 61 w 63"/>
                <a:gd name="T5" fmla="*/ 127 h 131"/>
                <a:gd name="T6" fmla="*/ 62 w 63"/>
                <a:gd name="T7" fmla="*/ 127 h 131"/>
                <a:gd name="T8" fmla="*/ 62 w 63"/>
                <a:gd name="T9" fmla="*/ 28 h 131"/>
                <a:gd name="T10" fmla="*/ 61 w 63"/>
                <a:gd name="T11" fmla="*/ 14 h 131"/>
                <a:gd name="T12" fmla="*/ 32 w 63"/>
                <a:gd name="T13" fmla="*/ 0 h 131"/>
                <a:gd name="T14" fmla="*/ 2 w 63"/>
                <a:gd name="T15" fmla="*/ 14 h 131"/>
                <a:gd name="T16" fmla="*/ 1 w 63"/>
                <a:gd name="T17" fmla="*/ 28 h 131"/>
                <a:gd name="T18" fmla="*/ 1 w 63"/>
                <a:gd name="T19" fmla="*/ 127 h 131"/>
                <a:gd name="T20" fmla="*/ 2 w 63"/>
                <a:gd name="T21" fmla="*/ 1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31">
                  <a:moveTo>
                    <a:pt x="2" y="127"/>
                  </a:moveTo>
                  <a:cubicBezTo>
                    <a:pt x="5" y="115"/>
                    <a:pt x="17" y="112"/>
                    <a:pt x="32" y="112"/>
                  </a:cubicBezTo>
                  <a:cubicBezTo>
                    <a:pt x="46" y="112"/>
                    <a:pt x="58" y="115"/>
                    <a:pt x="61" y="127"/>
                  </a:cubicBezTo>
                  <a:cubicBezTo>
                    <a:pt x="63" y="131"/>
                    <a:pt x="62" y="131"/>
                    <a:pt x="62" y="127"/>
                  </a:cubicBezTo>
                  <a:cubicBezTo>
                    <a:pt x="62" y="106"/>
                    <a:pt x="62" y="49"/>
                    <a:pt x="62" y="28"/>
                  </a:cubicBezTo>
                  <a:cubicBezTo>
                    <a:pt x="62" y="24"/>
                    <a:pt x="62" y="18"/>
                    <a:pt x="61" y="14"/>
                  </a:cubicBezTo>
                  <a:cubicBezTo>
                    <a:pt x="57" y="3"/>
                    <a:pt x="46" y="0"/>
                    <a:pt x="32" y="0"/>
                  </a:cubicBezTo>
                  <a:cubicBezTo>
                    <a:pt x="17" y="0"/>
                    <a:pt x="6" y="3"/>
                    <a:pt x="2" y="14"/>
                  </a:cubicBezTo>
                  <a:cubicBezTo>
                    <a:pt x="1" y="18"/>
                    <a:pt x="1" y="24"/>
                    <a:pt x="1" y="28"/>
                  </a:cubicBezTo>
                  <a:cubicBezTo>
                    <a:pt x="1" y="49"/>
                    <a:pt x="1" y="106"/>
                    <a:pt x="1" y="127"/>
                  </a:cubicBezTo>
                  <a:cubicBezTo>
                    <a:pt x="1" y="131"/>
                    <a:pt x="0" y="131"/>
                    <a:pt x="2" y="1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79" name="任意多边形: 形状 1478"/>
            <p:cNvSpPr/>
            <p:nvPr>
              <p:custDataLst>
                <p:tags r:id="rId71"/>
              </p:custDataLst>
            </p:nvPr>
          </p:nvSpPr>
          <p:spPr bwMode="auto">
            <a:xfrm flipH="1">
              <a:off x="1494240" y="3370336"/>
              <a:ext cx="255298" cy="242424"/>
            </a:xfrm>
            <a:custGeom>
              <a:avLst/>
              <a:gdLst>
                <a:gd name="T0" fmla="*/ 59 w 118"/>
                <a:gd name="T1" fmla="*/ 119 h 119"/>
                <a:gd name="T2" fmla="*/ 68 w 118"/>
                <a:gd name="T3" fmla="*/ 119 h 119"/>
                <a:gd name="T4" fmla="*/ 68 w 118"/>
                <a:gd name="T5" fmla="*/ 110 h 119"/>
                <a:gd name="T6" fmla="*/ 88 w 118"/>
                <a:gd name="T7" fmla="*/ 102 h 119"/>
                <a:gd name="T8" fmla="*/ 94 w 118"/>
                <a:gd name="T9" fmla="*/ 108 h 119"/>
                <a:gd name="T10" fmla="*/ 108 w 118"/>
                <a:gd name="T11" fmla="*/ 95 h 119"/>
                <a:gd name="T12" fmla="*/ 101 w 118"/>
                <a:gd name="T13" fmla="*/ 89 h 119"/>
                <a:gd name="T14" fmla="*/ 109 w 118"/>
                <a:gd name="T15" fmla="*/ 69 h 119"/>
                <a:gd name="T16" fmla="*/ 118 w 118"/>
                <a:gd name="T17" fmla="*/ 69 h 119"/>
                <a:gd name="T18" fmla="*/ 118 w 118"/>
                <a:gd name="T19" fmla="*/ 50 h 119"/>
                <a:gd name="T20" fmla="*/ 109 w 118"/>
                <a:gd name="T21" fmla="*/ 50 h 119"/>
                <a:gd name="T22" fmla="*/ 101 w 118"/>
                <a:gd name="T23" fmla="*/ 31 h 119"/>
                <a:gd name="T24" fmla="*/ 108 w 118"/>
                <a:gd name="T25" fmla="*/ 24 h 119"/>
                <a:gd name="T26" fmla="*/ 94 w 118"/>
                <a:gd name="T27" fmla="*/ 11 h 119"/>
                <a:gd name="T28" fmla="*/ 88 w 118"/>
                <a:gd name="T29" fmla="*/ 17 h 119"/>
                <a:gd name="T30" fmla="*/ 68 w 118"/>
                <a:gd name="T31" fmla="*/ 9 h 119"/>
                <a:gd name="T32" fmla="*/ 68 w 118"/>
                <a:gd name="T33" fmla="*/ 0 h 119"/>
                <a:gd name="T34" fmla="*/ 59 w 118"/>
                <a:gd name="T35" fmla="*/ 0 h 119"/>
                <a:gd name="T36" fmla="*/ 59 w 118"/>
                <a:gd name="T37" fmla="*/ 22 h 119"/>
                <a:gd name="T38" fmla="*/ 97 w 118"/>
                <a:gd name="T39" fmla="*/ 60 h 119"/>
                <a:gd name="T40" fmla="*/ 59 w 118"/>
                <a:gd name="T41" fmla="*/ 97 h 119"/>
                <a:gd name="T42" fmla="*/ 59 w 118"/>
                <a:gd name="T43" fmla="*/ 119 h 119"/>
                <a:gd name="T44" fmla="*/ 17 w 118"/>
                <a:gd name="T45" fmla="*/ 89 h 119"/>
                <a:gd name="T46" fmla="*/ 11 w 118"/>
                <a:gd name="T47" fmla="*/ 95 h 119"/>
                <a:gd name="T48" fmla="*/ 24 w 118"/>
                <a:gd name="T49" fmla="*/ 108 h 119"/>
                <a:gd name="T50" fmla="*/ 30 w 118"/>
                <a:gd name="T51" fmla="*/ 102 h 119"/>
                <a:gd name="T52" fmla="*/ 50 w 118"/>
                <a:gd name="T53" fmla="*/ 110 h 119"/>
                <a:gd name="T54" fmla="*/ 50 w 118"/>
                <a:gd name="T55" fmla="*/ 119 h 119"/>
                <a:gd name="T56" fmla="*/ 59 w 118"/>
                <a:gd name="T57" fmla="*/ 119 h 119"/>
                <a:gd name="T58" fmla="*/ 59 w 118"/>
                <a:gd name="T59" fmla="*/ 97 h 119"/>
                <a:gd name="T60" fmla="*/ 59 w 118"/>
                <a:gd name="T61" fmla="*/ 97 h 119"/>
                <a:gd name="T62" fmla="*/ 21 w 118"/>
                <a:gd name="T63" fmla="*/ 60 h 119"/>
                <a:gd name="T64" fmla="*/ 59 w 118"/>
                <a:gd name="T65" fmla="*/ 22 h 119"/>
                <a:gd name="T66" fmla="*/ 59 w 118"/>
                <a:gd name="T67" fmla="*/ 22 h 119"/>
                <a:gd name="T68" fmla="*/ 59 w 118"/>
                <a:gd name="T69" fmla="*/ 22 h 119"/>
                <a:gd name="T70" fmla="*/ 59 w 118"/>
                <a:gd name="T71" fmla="*/ 0 h 119"/>
                <a:gd name="T72" fmla="*/ 50 w 118"/>
                <a:gd name="T73" fmla="*/ 0 h 119"/>
                <a:gd name="T74" fmla="*/ 50 w 118"/>
                <a:gd name="T75" fmla="*/ 9 h 119"/>
                <a:gd name="T76" fmla="*/ 30 w 118"/>
                <a:gd name="T77" fmla="*/ 17 h 119"/>
                <a:gd name="T78" fmla="*/ 24 w 118"/>
                <a:gd name="T79" fmla="*/ 11 h 119"/>
                <a:gd name="T80" fmla="*/ 11 w 118"/>
                <a:gd name="T81" fmla="*/ 24 h 119"/>
                <a:gd name="T82" fmla="*/ 17 w 118"/>
                <a:gd name="T83" fmla="*/ 31 h 119"/>
                <a:gd name="T84" fmla="*/ 9 w 118"/>
                <a:gd name="T85" fmla="*/ 50 h 119"/>
                <a:gd name="T86" fmla="*/ 0 w 118"/>
                <a:gd name="T87" fmla="*/ 50 h 119"/>
                <a:gd name="T88" fmla="*/ 0 w 118"/>
                <a:gd name="T89" fmla="*/ 69 h 119"/>
                <a:gd name="T90" fmla="*/ 9 w 118"/>
                <a:gd name="T91" fmla="*/ 69 h 119"/>
                <a:gd name="T92" fmla="*/ 17 w 118"/>
                <a:gd name="T93" fmla="*/ 8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8" h="119">
                  <a:moveTo>
                    <a:pt x="59" y="119"/>
                  </a:moveTo>
                  <a:cubicBezTo>
                    <a:pt x="68" y="119"/>
                    <a:pt x="68" y="119"/>
                    <a:pt x="68" y="119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6" y="109"/>
                    <a:pt x="82" y="106"/>
                    <a:pt x="88" y="102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5" y="83"/>
                    <a:pt x="108" y="76"/>
                    <a:pt x="109" y="69"/>
                  </a:cubicBezTo>
                  <a:cubicBezTo>
                    <a:pt x="118" y="69"/>
                    <a:pt x="118" y="69"/>
                    <a:pt x="118" y="69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8" y="43"/>
                    <a:pt x="105" y="36"/>
                    <a:pt x="101" y="31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2" y="13"/>
                    <a:pt x="76" y="11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80" y="22"/>
                    <a:pt x="97" y="39"/>
                    <a:pt x="97" y="60"/>
                  </a:cubicBezTo>
                  <a:cubicBezTo>
                    <a:pt x="97" y="81"/>
                    <a:pt x="80" y="97"/>
                    <a:pt x="59" y="97"/>
                  </a:cubicBezTo>
                  <a:lnTo>
                    <a:pt x="59" y="119"/>
                  </a:lnTo>
                  <a:close/>
                  <a:moveTo>
                    <a:pt x="17" y="89"/>
                  </a:moveTo>
                  <a:cubicBezTo>
                    <a:pt x="11" y="95"/>
                    <a:pt x="11" y="95"/>
                    <a:pt x="11" y="95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6" y="106"/>
                    <a:pt x="42" y="109"/>
                    <a:pt x="50" y="110"/>
                  </a:cubicBezTo>
                  <a:cubicBezTo>
                    <a:pt x="50" y="119"/>
                    <a:pt x="50" y="119"/>
                    <a:pt x="50" y="119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38" y="97"/>
                    <a:pt x="21" y="81"/>
                    <a:pt x="21" y="60"/>
                  </a:cubicBezTo>
                  <a:cubicBezTo>
                    <a:pt x="21" y="39"/>
                    <a:pt x="38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2" y="11"/>
                    <a:pt x="36" y="13"/>
                    <a:pt x="30" y="17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3" y="36"/>
                    <a:pt x="10" y="43"/>
                    <a:pt x="9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6"/>
                    <a:pt x="13" y="83"/>
                    <a:pt x="17" y="8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0" name="任意多边形: 形状 1479"/>
            <p:cNvSpPr/>
            <p:nvPr>
              <p:custDataLst>
                <p:tags r:id="rId72"/>
              </p:custDataLst>
            </p:nvPr>
          </p:nvSpPr>
          <p:spPr bwMode="auto">
            <a:xfrm flipH="1">
              <a:off x="1380267" y="3262879"/>
              <a:ext cx="172328" cy="162476"/>
            </a:xfrm>
            <a:custGeom>
              <a:avLst/>
              <a:gdLst>
                <a:gd name="T0" fmla="*/ 74 w 80"/>
                <a:gd name="T1" fmla="*/ 33 h 80"/>
                <a:gd name="T2" fmla="*/ 80 w 80"/>
                <a:gd name="T3" fmla="*/ 31 h 80"/>
                <a:gd name="T4" fmla="*/ 74 w 80"/>
                <a:gd name="T5" fmla="*/ 17 h 80"/>
                <a:gd name="T6" fmla="*/ 68 w 80"/>
                <a:gd name="T7" fmla="*/ 20 h 80"/>
                <a:gd name="T8" fmla="*/ 60 w 80"/>
                <a:gd name="T9" fmla="*/ 11 h 80"/>
                <a:gd name="T10" fmla="*/ 62 w 80"/>
                <a:gd name="T11" fmla="*/ 5 h 80"/>
                <a:gd name="T12" fmla="*/ 48 w 80"/>
                <a:gd name="T13" fmla="*/ 0 h 80"/>
                <a:gd name="T14" fmla="*/ 46 w 80"/>
                <a:gd name="T15" fmla="*/ 5 h 80"/>
                <a:gd name="T16" fmla="*/ 40 w 80"/>
                <a:gd name="T17" fmla="*/ 5 h 80"/>
                <a:gd name="T18" fmla="*/ 40 w 80"/>
                <a:gd name="T19" fmla="*/ 16 h 80"/>
                <a:gd name="T20" fmla="*/ 62 w 80"/>
                <a:gd name="T21" fmla="*/ 31 h 80"/>
                <a:gd name="T22" fmla="*/ 49 w 80"/>
                <a:gd name="T23" fmla="*/ 61 h 80"/>
                <a:gd name="T24" fmla="*/ 49 w 80"/>
                <a:gd name="T25" fmla="*/ 61 h 80"/>
                <a:gd name="T26" fmla="*/ 40 w 80"/>
                <a:gd name="T27" fmla="*/ 63 h 80"/>
                <a:gd name="T28" fmla="*/ 40 w 80"/>
                <a:gd name="T29" fmla="*/ 63 h 80"/>
                <a:gd name="T30" fmla="*/ 40 w 80"/>
                <a:gd name="T31" fmla="*/ 75 h 80"/>
                <a:gd name="T32" fmla="*/ 46 w 80"/>
                <a:gd name="T33" fmla="*/ 74 h 80"/>
                <a:gd name="T34" fmla="*/ 49 w 80"/>
                <a:gd name="T35" fmla="*/ 80 h 80"/>
                <a:gd name="T36" fmla="*/ 63 w 80"/>
                <a:gd name="T37" fmla="*/ 74 h 80"/>
                <a:gd name="T38" fmla="*/ 60 w 80"/>
                <a:gd name="T39" fmla="*/ 68 h 80"/>
                <a:gd name="T40" fmla="*/ 69 w 80"/>
                <a:gd name="T41" fmla="*/ 60 h 80"/>
                <a:gd name="T42" fmla="*/ 74 w 80"/>
                <a:gd name="T43" fmla="*/ 62 h 80"/>
                <a:gd name="T44" fmla="*/ 80 w 80"/>
                <a:gd name="T45" fmla="*/ 48 h 80"/>
                <a:gd name="T46" fmla="*/ 74 w 80"/>
                <a:gd name="T47" fmla="*/ 46 h 80"/>
                <a:gd name="T48" fmla="*/ 74 w 80"/>
                <a:gd name="T49" fmla="*/ 33 h 80"/>
                <a:gd name="T50" fmla="*/ 40 w 80"/>
                <a:gd name="T51" fmla="*/ 5 h 80"/>
                <a:gd name="T52" fmla="*/ 33 w 80"/>
                <a:gd name="T53" fmla="*/ 5 h 80"/>
                <a:gd name="T54" fmla="*/ 31 w 80"/>
                <a:gd name="T55" fmla="*/ 0 h 80"/>
                <a:gd name="T56" fmla="*/ 17 w 80"/>
                <a:gd name="T57" fmla="*/ 6 h 80"/>
                <a:gd name="T58" fmla="*/ 20 w 80"/>
                <a:gd name="T59" fmla="*/ 11 h 80"/>
                <a:gd name="T60" fmla="*/ 11 w 80"/>
                <a:gd name="T61" fmla="*/ 20 h 80"/>
                <a:gd name="T62" fmla="*/ 5 w 80"/>
                <a:gd name="T63" fmla="*/ 18 h 80"/>
                <a:gd name="T64" fmla="*/ 0 w 80"/>
                <a:gd name="T65" fmla="*/ 32 h 80"/>
                <a:gd name="T66" fmla="*/ 5 w 80"/>
                <a:gd name="T67" fmla="*/ 34 h 80"/>
                <a:gd name="T68" fmla="*/ 6 w 80"/>
                <a:gd name="T69" fmla="*/ 46 h 80"/>
                <a:gd name="T70" fmla="*/ 0 w 80"/>
                <a:gd name="T71" fmla="*/ 49 h 80"/>
                <a:gd name="T72" fmla="*/ 6 w 80"/>
                <a:gd name="T73" fmla="*/ 62 h 80"/>
                <a:gd name="T74" fmla="*/ 11 w 80"/>
                <a:gd name="T75" fmla="*/ 60 h 80"/>
                <a:gd name="T76" fmla="*/ 20 w 80"/>
                <a:gd name="T77" fmla="*/ 69 h 80"/>
                <a:gd name="T78" fmla="*/ 18 w 80"/>
                <a:gd name="T79" fmla="*/ 74 h 80"/>
                <a:gd name="T80" fmla="*/ 32 w 80"/>
                <a:gd name="T81" fmla="*/ 80 h 80"/>
                <a:gd name="T82" fmla="*/ 34 w 80"/>
                <a:gd name="T83" fmla="*/ 74 h 80"/>
                <a:gd name="T84" fmla="*/ 40 w 80"/>
                <a:gd name="T85" fmla="*/ 75 h 80"/>
                <a:gd name="T86" fmla="*/ 40 w 80"/>
                <a:gd name="T87" fmla="*/ 63 h 80"/>
                <a:gd name="T88" fmla="*/ 18 w 80"/>
                <a:gd name="T89" fmla="*/ 49 h 80"/>
                <a:gd name="T90" fmla="*/ 31 w 80"/>
                <a:gd name="T91" fmla="*/ 18 h 80"/>
                <a:gd name="T92" fmla="*/ 40 w 80"/>
                <a:gd name="T93" fmla="*/ 16 h 80"/>
                <a:gd name="T94" fmla="*/ 40 w 80"/>
                <a:gd name="T95" fmla="*/ 16 h 80"/>
                <a:gd name="T96" fmla="*/ 40 w 80"/>
                <a:gd name="T97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0">
                  <a:moveTo>
                    <a:pt x="74" y="33"/>
                  </a:moveTo>
                  <a:cubicBezTo>
                    <a:pt x="80" y="31"/>
                    <a:pt x="80" y="31"/>
                    <a:pt x="80" y="31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6" y="16"/>
                    <a:pt x="63" y="13"/>
                    <a:pt x="60" y="11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4" y="5"/>
                    <a:pt x="42" y="5"/>
                    <a:pt x="40" y="5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9" y="16"/>
                    <a:pt x="58" y="22"/>
                    <a:pt x="62" y="31"/>
                  </a:cubicBezTo>
                  <a:cubicBezTo>
                    <a:pt x="67" y="43"/>
                    <a:pt x="61" y="56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6" y="63"/>
                    <a:pt x="43" y="63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2" y="75"/>
                    <a:pt x="44" y="75"/>
                    <a:pt x="46" y="74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4" y="66"/>
                    <a:pt x="67" y="63"/>
                    <a:pt x="69" y="60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5" y="42"/>
                    <a:pt x="75" y="37"/>
                    <a:pt x="74" y="33"/>
                  </a:cubicBezTo>
                  <a:close/>
                  <a:moveTo>
                    <a:pt x="40" y="5"/>
                  </a:moveTo>
                  <a:cubicBezTo>
                    <a:pt x="38" y="5"/>
                    <a:pt x="36" y="5"/>
                    <a:pt x="33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6" y="14"/>
                    <a:pt x="13" y="17"/>
                    <a:pt x="11" y="20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8"/>
                    <a:pt x="5" y="42"/>
                    <a:pt x="6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4" y="63"/>
                    <a:pt x="17" y="66"/>
                    <a:pt x="20" y="69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6" y="75"/>
                    <a:pt x="38" y="75"/>
                    <a:pt x="40" y="75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1" y="63"/>
                    <a:pt x="22" y="58"/>
                    <a:pt x="18" y="49"/>
                  </a:cubicBezTo>
                  <a:cubicBezTo>
                    <a:pt x="13" y="37"/>
                    <a:pt x="19" y="23"/>
                    <a:pt x="31" y="18"/>
                  </a:cubicBezTo>
                  <a:cubicBezTo>
                    <a:pt x="34" y="17"/>
                    <a:pt x="37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lnTo>
                    <a:pt x="40" y="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1" name="矩形 1480"/>
            <p:cNvSpPr/>
            <p:nvPr>
              <p:custDataLst>
                <p:tags r:id="rId73"/>
              </p:custDataLst>
            </p:nvPr>
          </p:nvSpPr>
          <p:spPr bwMode="auto">
            <a:xfrm flipH="1">
              <a:off x="2543698" y="4807685"/>
              <a:ext cx="47413" cy="29744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2" name="矩形 1481"/>
            <p:cNvSpPr/>
            <p:nvPr>
              <p:custDataLst>
                <p:tags r:id="rId74"/>
              </p:custDataLst>
            </p:nvPr>
          </p:nvSpPr>
          <p:spPr bwMode="auto">
            <a:xfrm flipH="1">
              <a:off x="2612080" y="4971020"/>
              <a:ext cx="47413" cy="13410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3" name="矩形 1482"/>
            <p:cNvSpPr/>
            <p:nvPr>
              <p:custDataLst>
                <p:tags r:id="rId75"/>
              </p:custDataLst>
            </p:nvPr>
          </p:nvSpPr>
          <p:spPr bwMode="auto">
            <a:xfrm flipH="1">
              <a:off x="2681376" y="4852387"/>
              <a:ext cx="47413" cy="2527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4" name="矩形 1483"/>
            <p:cNvSpPr/>
            <p:nvPr>
              <p:custDataLst>
                <p:tags r:id="rId76"/>
              </p:custDataLst>
            </p:nvPr>
          </p:nvSpPr>
          <p:spPr bwMode="auto">
            <a:xfrm flipH="1">
              <a:off x="2750672" y="4932336"/>
              <a:ext cx="47413" cy="17279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5" name="矩形 1484"/>
            <p:cNvSpPr/>
            <p:nvPr>
              <p:custDataLst>
                <p:tags r:id="rId77"/>
              </p:custDataLst>
            </p:nvPr>
          </p:nvSpPr>
          <p:spPr bwMode="auto">
            <a:xfrm flipH="1">
              <a:off x="2819967" y="4903107"/>
              <a:ext cx="47413" cy="20202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6" name="矩形 1485"/>
            <p:cNvSpPr/>
            <p:nvPr>
              <p:custDataLst>
                <p:tags r:id="rId78"/>
              </p:custDataLst>
            </p:nvPr>
          </p:nvSpPr>
          <p:spPr bwMode="auto">
            <a:xfrm flipH="1">
              <a:off x="2543698" y="4773300"/>
              <a:ext cx="47413" cy="206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7" name="矩形 1486"/>
            <p:cNvSpPr/>
            <p:nvPr>
              <p:custDataLst>
                <p:tags r:id="rId79"/>
              </p:custDataLst>
            </p:nvPr>
          </p:nvSpPr>
          <p:spPr bwMode="auto">
            <a:xfrm flipH="1">
              <a:off x="2681376" y="4819720"/>
              <a:ext cx="47413" cy="206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8" name="矩形 1487"/>
            <p:cNvSpPr/>
            <p:nvPr>
              <p:custDataLst>
                <p:tags r:id="rId80"/>
              </p:custDataLst>
            </p:nvPr>
          </p:nvSpPr>
          <p:spPr bwMode="auto">
            <a:xfrm flipH="1">
              <a:off x="2750672" y="4899669"/>
              <a:ext cx="47413" cy="1977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89" name="矩形 1488"/>
            <p:cNvSpPr/>
            <p:nvPr>
              <p:custDataLst>
                <p:tags r:id="rId81"/>
              </p:custDataLst>
            </p:nvPr>
          </p:nvSpPr>
          <p:spPr bwMode="auto">
            <a:xfrm flipH="1">
              <a:off x="2819967" y="4871300"/>
              <a:ext cx="47413" cy="1977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0" name="矩形 1489"/>
            <p:cNvSpPr/>
            <p:nvPr>
              <p:custDataLst>
                <p:tags r:id="rId82"/>
              </p:custDataLst>
            </p:nvPr>
          </p:nvSpPr>
          <p:spPr bwMode="auto">
            <a:xfrm flipH="1">
              <a:off x="2612080" y="4938353"/>
              <a:ext cx="47413" cy="1977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1" name="任意多边形: 形状 1490"/>
            <p:cNvSpPr/>
            <p:nvPr>
              <p:custDataLst>
                <p:tags r:id="rId83"/>
              </p:custDataLst>
            </p:nvPr>
          </p:nvSpPr>
          <p:spPr bwMode="auto">
            <a:xfrm flipH="1">
              <a:off x="3194707" y="2436747"/>
              <a:ext cx="321858" cy="179669"/>
            </a:xfrm>
            <a:custGeom>
              <a:avLst/>
              <a:gdLst>
                <a:gd name="T0" fmla="*/ 84 w 149"/>
                <a:gd name="T1" fmla="*/ 0 h 88"/>
                <a:gd name="T2" fmla="*/ 84 w 149"/>
                <a:gd name="T3" fmla="*/ 15 h 88"/>
                <a:gd name="T4" fmla="*/ 0 w 149"/>
                <a:gd name="T5" fmla="*/ 88 h 88"/>
                <a:gd name="T6" fmla="*/ 84 w 149"/>
                <a:gd name="T7" fmla="*/ 71 h 88"/>
                <a:gd name="T8" fmla="*/ 84 w 149"/>
                <a:gd name="T9" fmla="*/ 86 h 88"/>
                <a:gd name="T10" fmla="*/ 149 w 149"/>
                <a:gd name="T11" fmla="*/ 43 h 88"/>
                <a:gd name="T12" fmla="*/ 84 w 149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88">
                  <a:moveTo>
                    <a:pt x="84" y="0"/>
                  </a:moveTo>
                  <a:cubicBezTo>
                    <a:pt x="84" y="15"/>
                    <a:pt x="84" y="15"/>
                    <a:pt x="84" y="15"/>
                  </a:cubicBezTo>
                  <a:cubicBezTo>
                    <a:pt x="9" y="15"/>
                    <a:pt x="0" y="88"/>
                    <a:pt x="0" y="88"/>
                  </a:cubicBezTo>
                  <a:cubicBezTo>
                    <a:pt x="0" y="88"/>
                    <a:pt x="23" y="71"/>
                    <a:pt x="84" y="71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149" y="43"/>
                    <a:pt x="149" y="43"/>
                    <a:pt x="149" y="43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2" name="任意多边形: 形状 1491"/>
            <p:cNvSpPr/>
            <p:nvPr>
              <p:custDataLst>
                <p:tags r:id="rId84"/>
              </p:custDataLst>
            </p:nvPr>
          </p:nvSpPr>
          <p:spPr bwMode="auto">
            <a:xfrm flipH="1">
              <a:off x="3229355" y="2595785"/>
              <a:ext cx="320035" cy="178809"/>
            </a:xfrm>
            <a:custGeom>
              <a:avLst/>
              <a:gdLst>
                <a:gd name="T0" fmla="*/ 65 w 148"/>
                <a:gd name="T1" fmla="*/ 88 h 88"/>
                <a:gd name="T2" fmla="*/ 65 w 148"/>
                <a:gd name="T3" fmla="*/ 73 h 88"/>
                <a:gd name="T4" fmla="*/ 148 w 148"/>
                <a:gd name="T5" fmla="*/ 0 h 88"/>
                <a:gd name="T6" fmla="*/ 65 w 148"/>
                <a:gd name="T7" fmla="*/ 17 h 88"/>
                <a:gd name="T8" fmla="*/ 65 w 148"/>
                <a:gd name="T9" fmla="*/ 2 h 88"/>
                <a:gd name="T10" fmla="*/ 0 w 148"/>
                <a:gd name="T11" fmla="*/ 45 h 88"/>
                <a:gd name="T12" fmla="*/ 65 w 148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88">
                  <a:moveTo>
                    <a:pt x="65" y="88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140" y="73"/>
                    <a:pt x="148" y="0"/>
                    <a:pt x="148" y="0"/>
                  </a:cubicBezTo>
                  <a:cubicBezTo>
                    <a:pt x="148" y="0"/>
                    <a:pt x="126" y="17"/>
                    <a:pt x="65" y="17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0" y="45"/>
                    <a:pt x="0" y="45"/>
                    <a:pt x="0" y="45"/>
                  </a:cubicBezTo>
                  <a:lnTo>
                    <a:pt x="65" y="8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3" name="任意多边形: 形状 1492"/>
            <p:cNvSpPr/>
            <p:nvPr>
              <p:custDataLst>
                <p:tags r:id="rId85"/>
              </p:custDataLst>
            </p:nvPr>
          </p:nvSpPr>
          <p:spPr bwMode="auto">
            <a:xfrm flipH="1">
              <a:off x="1587241" y="2341326"/>
              <a:ext cx="403918" cy="378250"/>
            </a:xfrm>
            <a:custGeom>
              <a:avLst/>
              <a:gdLst>
                <a:gd name="T0" fmla="*/ 140 w 187"/>
                <a:gd name="T1" fmla="*/ 174 h 186"/>
                <a:gd name="T2" fmla="*/ 174 w 187"/>
                <a:gd name="T3" fmla="*/ 140 h 186"/>
                <a:gd name="T4" fmla="*/ 185 w 187"/>
                <a:gd name="T5" fmla="*/ 112 h 186"/>
                <a:gd name="T6" fmla="*/ 185 w 187"/>
                <a:gd name="T7" fmla="*/ 74 h 186"/>
                <a:gd name="T8" fmla="*/ 174 w 187"/>
                <a:gd name="T9" fmla="*/ 47 h 186"/>
                <a:gd name="T10" fmla="*/ 140 w 187"/>
                <a:gd name="T11" fmla="*/ 12 h 186"/>
                <a:gd name="T12" fmla="*/ 128 w 187"/>
                <a:gd name="T13" fmla="*/ 6 h 186"/>
                <a:gd name="T14" fmla="*/ 100 w 187"/>
                <a:gd name="T15" fmla="*/ 0 h 186"/>
                <a:gd name="T16" fmla="*/ 104 w 187"/>
                <a:gd name="T17" fmla="*/ 9 h 186"/>
                <a:gd name="T18" fmla="*/ 115 w 187"/>
                <a:gd name="T19" fmla="*/ 9 h 186"/>
                <a:gd name="T20" fmla="*/ 126 w 187"/>
                <a:gd name="T21" fmla="*/ 12 h 186"/>
                <a:gd name="T22" fmla="*/ 123 w 187"/>
                <a:gd name="T23" fmla="*/ 14 h 186"/>
                <a:gd name="T24" fmla="*/ 108 w 187"/>
                <a:gd name="T25" fmla="*/ 20 h 186"/>
                <a:gd name="T26" fmla="*/ 110 w 187"/>
                <a:gd name="T27" fmla="*/ 29 h 186"/>
                <a:gd name="T28" fmla="*/ 119 w 187"/>
                <a:gd name="T29" fmla="*/ 36 h 186"/>
                <a:gd name="T30" fmla="*/ 132 w 187"/>
                <a:gd name="T31" fmla="*/ 18 h 186"/>
                <a:gd name="T32" fmla="*/ 142 w 187"/>
                <a:gd name="T33" fmla="*/ 21 h 186"/>
                <a:gd name="T34" fmla="*/ 150 w 187"/>
                <a:gd name="T35" fmla="*/ 25 h 186"/>
                <a:gd name="T36" fmla="*/ 154 w 187"/>
                <a:gd name="T37" fmla="*/ 38 h 186"/>
                <a:gd name="T38" fmla="*/ 151 w 187"/>
                <a:gd name="T39" fmla="*/ 45 h 186"/>
                <a:gd name="T40" fmla="*/ 146 w 187"/>
                <a:gd name="T41" fmla="*/ 40 h 186"/>
                <a:gd name="T42" fmla="*/ 135 w 187"/>
                <a:gd name="T43" fmla="*/ 41 h 186"/>
                <a:gd name="T44" fmla="*/ 143 w 187"/>
                <a:gd name="T45" fmla="*/ 46 h 186"/>
                <a:gd name="T46" fmla="*/ 123 w 187"/>
                <a:gd name="T47" fmla="*/ 54 h 186"/>
                <a:gd name="T48" fmla="*/ 113 w 187"/>
                <a:gd name="T49" fmla="*/ 60 h 186"/>
                <a:gd name="T50" fmla="*/ 101 w 187"/>
                <a:gd name="T51" fmla="*/ 72 h 186"/>
                <a:gd name="T52" fmla="*/ 108 w 187"/>
                <a:gd name="T53" fmla="*/ 110 h 186"/>
                <a:gd name="T54" fmla="*/ 118 w 187"/>
                <a:gd name="T55" fmla="*/ 113 h 186"/>
                <a:gd name="T56" fmla="*/ 129 w 187"/>
                <a:gd name="T57" fmla="*/ 116 h 186"/>
                <a:gd name="T58" fmla="*/ 146 w 187"/>
                <a:gd name="T59" fmla="*/ 126 h 186"/>
                <a:gd name="T60" fmla="*/ 155 w 187"/>
                <a:gd name="T61" fmla="*/ 135 h 186"/>
                <a:gd name="T62" fmla="*/ 169 w 187"/>
                <a:gd name="T63" fmla="*/ 139 h 186"/>
                <a:gd name="T64" fmla="*/ 107 w 187"/>
                <a:gd name="T65" fmla="*/ 163 h 186"/>
                <a:gd name="T66" fmla="*/ 1 w 187"/>
                <a:gd name="T67" fmla="*/ 79 h 186"/>
                <a:gd name="T68" fmla="*/ 3 w 187"/>
                <a:gd name="T69" fmla="*/ 116 h 186"/>
                <a:gd name="T70" fmla="*/ 20 w 187"/>
                <a:gd name="T71" fmla="*/ 151 h 186"/>
                <a:gd name="T72" fmla="*/ 59 w 187"/>
                <a:gd name="T73" fmla="*/ 180 h 186"/>
                <a:gd name="T74" fmla="*/ 95 w 187"/>
                <a:gd name="T75" fmla="*/ 148 h 186"/>
                <a:gd name="T76" fmla="*/ 92 w 187"/>
                <a:gd name="T77" fmla="*/ 133 h 186"/>
                <a:gd name="T78" fmla="*/ 97 w 187"/>
                <a:gd name="T79" fmla="*/ 119 h 186"/>
                <a:gd name="T80" fmla="*/ 85 w 187"/>
                <a:gd name="T81" fmla="*/ 115 h 186"/>
                <a:gd name="T82" fmla="*/ 73 w 187"/>
                <a:gd name="T83" fmla="*/ 107 h 186"/>
                <a:gd name="T84" fmla="*/ 54 w 187"/>
                <a:gd name="T85" fmla="*/ 99 h 186"/>
                <a:gd name="T86" fmla="*/ 45 w 187"/>
                <a:gd name="T87" fmla="*/ 83 h 186"/>
                <a:gd name="T88" fmla="*/ 41 w 187"/>
                <a:gd name="T89" fmla="*/ 81 h 186"/>
                <a:gd name="T90" fmla="*/ 40 w 187"/>
                <a:gd name="T91" fmla="*/ 84 h 186"/>
                <a:gd name="T92" fmla="*/ 34 w 187"/>
                <a:gd name="T93" fmla="*/ 69 h 186"/>
                <a:gd name="T94" fmla="*/ 34 w 187"/>
                <a:gd name="T95" fmla="*/ 53 h 186"/>
                <a:gd name="T96" fmla="*/ 41 w 187"/>
                <a:gd name="T97" fmla="*/ 36 h 186"/>
                <a:gd name="T98" fmla="*/ 40 w 187"/>
                <a:gd name="T99" fmla="*/ 26 h 186"/>
                <a:gd name="T100" fmla="*/ 84 w 187"/>
                <a:gd name="T101" fmla="*/ 7 h 186"/>
                <a:gd name="T102" fmla="*/ 100 w 187"/>
                <a:gd name="T103" fmla="*/ 0 h 186"/>
                <a:gd name="T104" fmla="*/ 58 w 187"/>
                <a:gd name="T105" fmla="*/ 7 h 186"/>
                <a:gd name="T106" fmla="*/ 27 w 187"/>
                <a:gd name="T107" fmla="*/ 27 h 186"/>
                <a:gd name="T108" fmla="*/ 6 w 187"/>
                <a:gd name="T109" fmla="*/ 59 h 186"/>
                <a:gd name="T110" fmla="*/ 99 w 187"/>
                <a:gd name="T111" fmla="*/ 117 h 186"/>
                <a:gd name="T112" fmla="*/ 86 w 187"/>
                <a:gd name="T113" fmla="*/ 103 h 186"/>
                <a:gd name="T114" fmla="*/ 83 w 187"/>
                <a:gd name="T115" fmla="*/ 94 h 186"/>
                <a:gd name="T116" fmla="*/ 67 w 187"/>
                <a:gd name="T117" fmla="*/ 97 h 186"/>
                <a:gd name="T118" fmla="*/ 75 w 187"/>
                <a:gd name="T119" fmla="*/ 77 h 186"/>
                <a:gd name="T120" fmla="*/ 92 w 187"/>
                <a:gd name="T121" fmla="*/ 77 h 186"/>
                <a:gd name="T122" fmla="*/ 97 w 187"/>
                <a:gd name="T123" fmla="*/ 7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7" h="186">
                  <a:moveTo>
                    <a:pt x="100" y="186"/>
                  </a:moveTo>
                  <a:cubicBezTo>
                    <a:pt x="105" y="186"/>
                    <a:pt x="109" y="185"/>
                    <a:pt x="114" y="184"/>
                  </a:cubicBezTo>
                  <a:cubicBezTo>
                    <a:pt x="117" y="183"/>
                    <a:pt x="120" y="183"/>
                    <a:pt x="123" y="182"/>
                  </a:cubicBezTo>
                  <a:cubicBezTo>
                    <a:pt x="125" y="181"/>
                    <a:pt x="126" y="181"/>
                    <a:pt x="128" y="180"/>
                  </a:cubicBezTo>
                  <a:cubicBezTo>
                    <a:pt x="130" y="179"/>
                    <a:pt x="133" y="178"/>
                    <a:pt x="136" y="176"/>
                  </a:cubicBezTo>
                  <a:cubicBezTo>
                    <a:pt x="137" y="176"/>
                    <a:pt x="139" y="175"/>
                    <a:pt x="140" y="174"/>
                  </a:cubicBezTo>
                  <a:cubicBezTo>
                    <a:pt x="146" y="171"/>
                    <a:pt x="151" y="167"/>
                    <a:pt x="156" y="162"/>
                  </a:cubicBezTo>
                  <a:cubicBezTo>
                    <a:pt x="157" y="161"/>
                    <a:pt x="158" y="160"/>
                    <a:pt x="159" y="159"/>
                  </a:cubicBezTo>
                  <a:cubicBezTo>
                    <a:pt x="160" y="158"/>
                    <a:pt x="161" y="157"/>
                    <a:pt x="162" y="156"/>
                  </a:cubicBezTo>
                  <a:cubicBezTo>
                    <a:pt x="164" y="154"/>
                    <a:pt x="165" y="152"/>
                    <a:pt x="167" y="151"/>
                  </a:cubicBezTo>
                  <a:cubicBezTo>
                    <a:pt x="169" y="148"/>
                    <a:pt x="171" y="145"/>
                    <a:pt x="173" y="142"/>
                  </a:cubicBezTo>
                  <a:cubicBezTo>
                    <a:pt x="173" y="141"/>
                    <a:pt x="174" y="140"/>
                    <a:pt x="174" y="140"/>
                  </a:cubicBezTo>
                  <a:cubicBezTo>
                    <a:pt x="175" y="138"/>
                    <a:pt x="176" y="137"/>
                    <a:pt x="177" y="136"/>
                  </a:cubicBezTo>
                  <a:cubicBezTo>
                    <a:pt x="177" y="135"/>
                    <a:pt x="177" y="134"/>
                    <a:pt x="178" y="134"/>
                  </a:cubicBezTo>
                  <a:cubicBezTo>
                    <a:pt x="178" y="132"/>
                    <a:pt x="179" y="131"/>
                    <a:pt x="179" y="129"/>
                  </a:cubicBezTo>
                  <a:cubicBezTo>
                    <a:pt x="180" y="128"/>
                    <a:pt x="181" y="127"/>
                    <a:pt x="181" y="125"/>
                  </a:cubicBezTo>
                  <a:cubicBezTo>
                    <a:pt x="182" y="122"/>
                    <a:pt x="183" y="119"/>
                    <a:pt x="184" y="116"/>
                  </a:cubicBezTo>
                  <a:cubicBezTo>
                    <a:pt x="184" y="115"/>
                    <a:pt x="185" y="113"/>
                    <a:pt x="185" y="112"/>
                  </a:cubicBezTo>
                  <a:cubicBezTo>
                    <a:pt x="185" y="110"/>
                    <a:pt x="185" y="109"/>
                    <a:pt x="186" y="107"/>
                  </a:cubicBezTo>
                  <a:cubicBezTo>
                    <a:pt x="186" y="106"/>
                    <a:pt x="186" y="104"/>
                    <a:pt x="186" y="103"/>
                  </a:cubicBezTo>
                  <a:cubicBezTo>
                    <a:pt x="187" y="99"/>
                    <a:pt x="187" y="96"/>
                    <a:pt x="187" y="93"/>
                  </a:cubicBezTo>
                  <a:cubicBezTo>
                    <a:pt x="187" y="90"/>
                    <a:pt x="187" y="87"/>
                    <a:pt x="186" y="83"/>
                  </a:cubicBezTo>
                  <a:cubicBezTo>
                    <a:pt x="186" y="82"/>
                    <a:pt x="186" y="80"/>
                    <a:pt x="186" y="79"/>
                  </a:cubicBezTo>
                  <a:cubicBezTo>
                    <a:pt x="185" y="77"/>
                    <a:pt x="185" y="76"/>
                    <a:pt x="185" y="74"/>
                  </a:cubicBezTo>
                  <a:cubicBezTo>
                    <a:pt x="185" y="73"/>
                    <a:pt x="184" y="71"/>
                    <a:pt x="184" y="70"/>
                  </a:cubicBezTo>
                  <a:cubicBezTo>
                    <a:pt x="183" y="67"/>
                    <a:pt x="182" y="64"/>
                    <a:pt x="181" y="61"/>
                  </a:cubicBezTo>
                  <a:cubicBezTo>
                    <a:pt x="181" y="60"/>
                    <a:pt x="181" y="60"/>
                    <a:pt x="180" y="59"/>
                  </a:cubicBezTo>
                  <a:cubicBezTo>
                    <a:pt x="179" y="57"/>
                    <a:pt x="179" y="55"/>
                    <a:pt x="178" y="53"/>
                  </a:cubicBezTo>
                  <a:cubicBezTo>
                    <a:pt x="177" y="52"/>
                    <a:pt x="177" y="51"/>
                    <a:pt x="177" y="51"/>
                  </a:cubicBezTo>
                  <a:cubicBezTo>
                    <a:pt x="176" y="49"/>
                    <a:pt x="175" y="48"/>
                    <a:pt x="174" y="47"/>
                  </a:cubicBezTo>
                  <a:cubicBezTo>
                    <a:pt x="172" y="43"/>
                    <a:pt x="170" y="39"/>
                    <a:pt x="167" y="35"/>
                  </a:cubicBezTo>
                  <a:cubicBezTo>
                    <a:pt x="165" y="34"/>
                    <a:pt x="164" y="32"/>
                    <a:pt x="162" y="30"/>
                  </a:cubicBezTo>
                  <a:cubicBezTo>
                    <a:pt x="161" y="29"/>
                    <a:pt x="160" y="28"/>
                    <a:pt x="159" y="27"/>
                  </a:cubicBezTo>
                  <a:cubicBezTo>
                    <a:pt x="158" y="26"/>
                    <a:pt x="157" y="25"/>
                    <a:pt x="156" y="24"/>
                  </a:cubicBezTo>
                  <a:cubicBezTo>
                    <a:pt x="154" y="22"/>
                    <a:pt x="152" y="20"/>
                    <a:pt x="149" y="18"/>
                  </a:cubicBezTo>
                  <a:cubicBezTo>
                    <a:pt x="146" y="16"/>
                    <a:pt x="143" y="14"/>
                    <a:pt x="140" y="12"/>
                  </a:cubicBezTo>
                  <a:cubicBezTo>
                    <a:pt x="139" y="11"/>
                    <a:pt x="137" y="11"/>
                    <a:pt x="136" y="10"/>
                  </a:cubicBezTo>
                  <a:cubicBezTo>
                    <a:pt x="135" y="10"/>
                    <a:pt x="135" y="9"/>
                    <a:pt x="134" y="9"/>
                  </a:cubicBezTo>
                  <a:cubicBezTo>
                    <a:pt x="133" y="9"/>
                    <a:pt x="133" y="8"/>
                    <a:pt x="132" y="8"/>
                  </a:cubicBezTo>
                  <a:cubicBezTo>
                    <a:pt x="131" y="8"/>
                    <a:pt x="131" y="8"/>
                    <a:pt x="131" y="7"/>
                  </a:cubicBezTo>
                  <a:cubicBezTo>
                    <a:pt x="130" y="7"/>
                    <a:pt x="129" y="7"/>
                    <a:pt x="128" y="6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6" y="6"/>
                    <a:pt x="125" y="5"/>
                    <a:pt x="124" y="5"/>
                  </a:cubicBezTo>
                  <a:cubicBezTo>
                    <a:pt x="124" y="5"/>
                    <a:pt x="124" y="5"/>
                    <a:pt x="123" y="5"/>
                  </a:cubicBezTo>
                  <a:cubicBezTo>
                    <a:pt x="121" y="4"/>
                    <a:pt x="118" y="3"/>
                    <a:pt x="115" y="2"/>
                  </a:cubicBezTo>
                  <a:cubicBezTo>
                    <a:pt x="114" y="2"/>
                    <a:pt x="113" y="2"/>
                    <a:pt x="112" y="2"/>
                  </a:cubicBezTo>
                  <a:cubicBezTo>
                    <a:pt x="111" y="1"/>
                    <a:pt x="111" y="1"/>
                    <a:pt x="110" y="1"/>
                  </a:cubicBezTo>
                  <a:cubicBezTo>
                    <a:pt x="107" y="1"/>
                    <a:pt x="103" y="0"/>
                    <a:pt x="100" y="0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4" y="5"/>
                    <a:pt x="107" y="6"/>
                    <a:pt x="111" y="6"/>
                  </a:cubicBezTo>
                  <a:cubicBezTo>
                    <a:pt x="111" y="7"/>
                    <a:pt x="110" y="7"/>
                    <a:pt x="109" y="7"/>
                  </a:cubicBezTo>
                  <a:cubicBezTo>
                    <a:pt x="109" y="7"/>
                    <a:pt x="108" y="8"/>
                    <a:pt x="108" y="8"/>
                  </a:cubicBezTo>
                  <a:cubicBezTo>
                    <a:pt x="106" y="8"/>
                    <a:pt x="104" y="8"/>
                    <a:pt x="103" y="8"/>
                  </a:cubicBezTo>
                  <a:cubicBezTo>
                    <a:pt x="103" y="8"/>
                    <a:pt x="104" y="9"/>
                    <a:pt x="104" y="9"/>
                  </a:cubicBezTo>
                  <a:cubicBezTo>
                    <a:pt x="106" y="10"/>
                    <a:pt x="107" y="10"/>
                    <a:pt x="109" y="10"/>
                  </a:cubicBezTo>
                  <a:cubicBezTo>
                    <a:pt x="110" y="10"/>
                    <a:pt x="111" y="10"/>
                    <a:pt x="112" y="9"/>
                  </a:cubicBezTo>
                  <a:cubicBezTo>
                    <a:pt x="112" y="9"/>
                    <a:pt x="112" y="8"/>
                    <a:pt x="113" y="8"/>
                  </a:cubicBezTo>
                  <a:cubicBezTo>
                    <a:pt x="113" y="7"/>
                    <a:pt x="113" y="7"/>
                    <a:pt x="114" y="7"/>
                  </a:cubicBezTo>
                  <a:cubicBezTo>
                    <a:pt x="115" y="7"/>
                    <a:pt x="116" y="7"/>
                    <a:pt x="117" y="8"/>
                  </a:cubicBezTo>
                  <a:cubicBezTo>
                    <a:pt x="116" y="8"/>
                    <a:pt x="115" y="8"/>
                    <a:pt x="115" y="9"/>
                  </a:cubicBezTo>
                  <a:cubicBezTo>
                    <a:pt x="116" y="10"/>
                    <a:pt x="118" y="9"/>
                    <a:pt x="118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20" y="9"/>
                    <a:pt x="122" y="9"/>
                    <a:pt x="123" y="10"/>
                  </a:cubicBezTo>
                  <a:cubicBezTo>
                    <a:pt x="125" y="11"/>
                    <a:pt x="127" y="11"/>
                    <a:pt x="129" y="12"/>
                  </a:cubicBezTo>
                  <a:cubicBezTo>
                    <a:pt x="129" y="12"/>
                    <a:pt x="128" y="13"/>
                    <a:pt x="128" y="13"/>
                  </a:cubicBezTo>
                  <a:cubicBezTo>
                    <a:pt x="127" y="13"/>
                    <a:pt x="127" y="12"/>
                    <a:pt x="126" y="12"/>
                  </a:cubicBezTo>
                  <a:cubicBezTo>
                    <a:pt x="126" y="13"/>
                    <a:pt x="127" y="13"/>
                    <a:pt x="128" y="14"/>
                  </a:cubicBezTo>
                  <a:cubicBezTo>
                    <a:pt x="129" y="15"/>
                    <a:pt x="129" y="15"/>
                    <a:pt x="130" y="16"/>
                  </a:cubicBezTo>
                  <a:cubicBezTo>
                    <a:pt x="129" y="18"/>
                    <a:pt x="128" y="16"/>
                    <a:pt x="126" y="16"/>
                  </a:cubicBezTo>
                  <a:cubicBezTo>
                    <a:pt x="125" y="16"/>
                    <a:pt x="123" y="19"/>
                    <a:pt x="122" y="16"/>
                  </a:cubicBezTo>
                  <a:cubicBezTo>
                    <a:pt x="122" y="15"/>
                    <a:pt x="123" y="15"/>
                    <a:pt x="124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2" y="14"/>
                    <a:pt x="122" y="15"/>
                    <a:pt x="121" y="15"/>
                  </a:cubicBezTo>
                  <a:cubicBezTo>
                    <a:pt x="121" y="15"/>
                    <a:pt x="120" y="16"/>
                    <a:pt x="119" y="16"/>
                  </a:cubicBezTo>
                  <a:cubicBezTo>
                    <a:pt x="119" y="16"/>
                    <a:pt x="118" y="16"/>
                    <a:pt x="117" y="16"/>
                  </a:cubicBezTo>
                  <a:cubicBezTo>
                    <a:pt x="116" y="16"/>
                    <a:pt x="115" y="17"/>
                    <a:pt x="114" y="18"/>
                  </a:cubicBezTo>
                  <a:cubicBezTo>
                    <a:pt x="113" y="18"/>
                    <a:pt x="113" y="18"/>
                    <a:pt x="112" y="18"/>
                  </a:cubicBezTo>
                  <a:cubicBezTo>
                    <a:pt x="111" y="18"/>
                    <a:pt x="110" y="19"/>
                    <a:pt x="108" y="20"/>
                  </a:cubicBezTo>
                  <a:cubicBezTo>
                    <a:pt x="107" y="20"/>
                    <a:pt x="106" y="21"/>
                    <a:pt x="105" y="22"/>
                  </a:cubicBezTo>
                  <a:cubicBezTo>
                    <a:pt x="104" y="22"/>
                    <a:pt x="103" y="24"/>
                    <a:pt x="103" y="24"/>
                  </a:cubicBezTo>
                  <a:cubicBezTo>
                    <a:pt x="103" y="25"/>
                    <a:pt x="105" y="25"/>
                    <a:pt x="105" y="25"/>
                  </a:cubicBezTo>
                  <a:cubicBezTo>
                    <a:pt x="105" y="26"/>
                    <a:pt x="104" y="27"/>
                    <a:pt x="104" y="27"/>
                  </a:cubicBezTo>
                  <a:cubicBezTo>
                    <a:pt x="105" y="28"/>
                    <a:pt x="106" y="27"/>
                    <a:pt x="107" y="27"/>
                  </a:cubicBezTo>
                  <a:cubicBezTo>
                    <a:pt x="108" y="27"/>
                    <a:pt x="109" y="29"/>
                    <a:pt x="110" y="29"/>
                  </a:cubicBezTo>
                  <a:cubicBezTo>
                    <a:pt x="111" y="30"/>
                    <a:pt x="112" y="30"/>
                    <a:pt x="113" y="31"/>
                  </a:cubicBezTo>
                  <a:cubicBezTo>
                    <a:pt x="115" y="31"/>
                    <a:pt x="116" y="30"/>
                    <a:pt x="117" y="31"/>
                  </a:cubicBezTo>
                  <a:cubicBezTo>
                    <a:pt x="117" y="32"/>
                    <a:pt x="115" y="33"/>
                    <a:pt x="115" y="33"/>
                  </a:cubicBezTo>
                  <a:cubicBezTo>
                    <a:pt x="116" y="34"/>
                    <a:pt x="115" y="35"/>
                    <a:pt x="115" y="36"/>
                  </a:cubicBezTo>
                  <a:cubicBezTo>
                    <a:pt x="115" y="36"/>
                    <a:pt x="115" y="37"/>
                    <a:pt x="116" y="38"/>
                  </a:cubicBezTo>
                  <a:cubicBezTo>
                    <a:pt x="117" y="38"/>
                    <a:pt x="119" y="37"/>
                    <a:pt x="119" y="36"/>
                  </a:cubicBezTo>
                  <a:cubicBezTo>
                    <a:pt x="120" y="34"/>
                    <a:pt x="119" y="33"/>
                    <a:pt x="120" y="32"/>
                  </a:cubicBezTo>
                  <a:cubicBezTo>
                    <a:pt x="125" y="32"/>
                    <a:pt x="129" y="30"/>
                    <a:pt x="129" y="25"/>
                  </a:cubicBezTo>
                  <a:cubicBezTo>
                    <a:pt x="129" y="24"/>
                    <a:pt x="128" y="24"/>
                    <a:pt x="128" y="23"/>
                  </a:cubicBezTo>
                  <a:cubicBezTo>
                    <a:pt x="129" y="23"/>
                    <a:pt x="130" y="22"/>
                    <a:pt x="130" y="21"/>
                  </a:cubicBezTo>
                  <a:cubicBezTo>
                    <a:pt x="130" y="21"/>
                    <a:pt x="131" y="20"/>
                    <a:pt x="131" y="20"/>
                  </a:cubicBezTo>
                  <a:cubicBezTo>
                    <a:pt x="131" y="19"/>
                    <a:pt x="132" y="18"/>
                    <a:pt x="132" y="18"/>
                  </a:cubicBezTo>
                  <a:cubicBezTo>
                    <a:pt x="132" y="18"/>
                    <a:pt x="132" y="18"/>
                    <a:pt x="132" y="18"/>
                  </a:cubicBezTo>
                  <a:cubicBezTo>
                    <a:pt x="133" y="18"/>
                    <a:pt x="133" y="18"/>
                    <a:pt x="134" y="18"/>
                  </a:cubicBezTo>
                  <a:cubicBezTo>
                    <a:pt x="134" y="18"/>
                    <a:pt x="135" y="19"/>
                    <a:pt x="136" y="19"/>
                  </a:cubicBezTo>
                  <a:cubicBezTo>
                    <a:pt x="137" y="19"/>
                    <a:pt x="137" y="18"/>
                    <a:pt x="138" y="18"/>
                  </a:cubicBezTo>
                  <a:cubicBezTo>
                    <a:pt x="139" y="19"/>
                    <a:pt x="139" y="20"/>
                    <a:pt x="140" y="20"/>
                  </a:cubicBezTo>
                  <a:cubicBezTo>
                    <a:pt x="141" y="21"/>
                    <a:pt x="142" y="21"/>
                    <a:pt x="142" y="21"/>
                  </a:cubicBezTo>
                  <a:cubicBezTo>
                    <a:pt x="142" y="22"/>
                    <a:pt x="141" y="22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4"/>
                    <a:pt x="142" y="25"/>
                    <a:pt x="142" y="25"/>
                  </a:cubicBezTo>
                  <a:cubicBezTo>
                    <a:pt x="143" y="25"/>
                    <a:pt x="144" y="25"/>
                    <a:pt x="145" y="25"/>
                  </a:cubicBezTo>
                  <a:cubicBezTo>
                    <a:pt x="146" y="24"/>
                    <a:pt x="146" y="23"/>
                    <a:pt x="147" y="23"/>
                  </a:cubicBezTo>
                  <a:cubicBezTo>
                    <a:pt x="148" y="24"/>
                    <a:pt x="149" y="24"/>
                    <a:pt x="150" y="25"/>
                  </a:cubicBezTo>
                  <a:cubicBezTo>
                    <a:pt x="150" y="26"/>
                    <a:pt x="150" y="26"/>
                    <a:pt x="150" y="26"/>
                  </a:cubicBezTo>
                  <a:cubicBezTo>
                    <a:pt x="150" y="27"/>
                    <a:pt x="150" y="28"/>
                    <a:pt x="150" y="29"/>
                  </a:cubicBezTo>
                  <a:cubicBezTo>
                    <a:pt x="150" y="31"/>
                    <a:pt x="152" y="31"/>
                    <a:pt x="153" y="32"/>
                  </a:cubicBezTo>
                  <a:cubicBezTo>
                    <a:pt x="154" y="32"/>
                    <a:pt x="154" y="33"/>
                    <a:pt x="154" y="33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5" y="36"/>
                    <a:pt x="154" y="36"/>
                    <a:pt x="154" y="38"/>
                  </a:cubicBezTo>
                  <a:cubicBezTo>
                    <a:pt x="154" y="39"/>
                    <a:pt x="153" y="39"/>
                    <a:pt x="153" y="40"/>
                  </a:cubicBezTo>
                  <a:cubicBezTo>
                    <a:pt x="153" y="41"/>
                    <a:pt x="155" y="40"/>
                    <a:pt x="156" y="41"/>
                  </a:cubicBezTo>
                  <a:cubicBezTo>
                    <a:pt x="156" y="42"/>
                    <a:pt x="156" y="43"/>
                    <a:pt x="155" y="44"/>
                  </a:cubicBezTo>
                  <a:cubicBezTo>
                    <a:pt x="156" y="44"/>
                    <a:pt x="156" y="46"/>
                    <a:pt x="155" y="46"/>
                  </a:cubicBezTo>
                  <a:cubicBezTo>
                    <a:pt x="154" y="46"/>
                    <a:pt x="154" y="45"/>
                    <a:pt x="153" y="45"/>
                  </a:cubicBezTo>
                  <a:cubicBezTo>
                    <a:pt x="152" y="45"/>
                    <a:pt x="152" y="45"/>
                    <a:pt x="151" y="45"/>
                  </a:cubicBezTo>
                  <a:cubicBezTo>
                    <a:pt x="151" y="45"/>
                    <a:pt x="150" y="44"/>
                    <a:pt x="150" y="44"/>
                  </a:cubicBezTo>
                  <a:cubicBezTo>
                    <a:pt x="148" y="44"/>
                    <a:pt x="147" y="45"/>
                    <a:pt x="146" y="44"/>
                  </a:cubicBezTo>
                  <a:cubicBezTo>
                    <a:pt x="147" y="42"/>
                    <a:pt x="149" y="41"/>
                    <a:pt x="151" y="39"/>
                  </a:cubicBezTo>
                  <a:cubicBezTo>
                    <a:pt x="151" y="39"/>
                    <a:pt x="152" y="39"/>
                    <a:pt x="152" y="38"/>
                  </a:cubicBezTo>
                  <a:cubicBezTo>
                    <a:pt x="151" y="37"/>
                    <a:pt x="150" y="38"/>
                    <a:pt x="149" y="38"/>
                  </a:cubicBezTo>
                  <a:cubicBezTo>
                    <a:pt x="148" y="39"/>
                    <a:pt x="147" y="39"/>
                    <a:pt x="146" y="40"/>
                  </a:cubicBezTo>
                  <a:cubicBezTo>
                    <a:pt x="145" y="40"/>
                    <a:pt x="142" y="39"/>
                    <a:pt x="141" y="40"/>
                  </a:cubicBezTo>
                  <a:cubicBezTo>
                    <a:pt x="141" y="41"/>
                    <a:pt x="143" y="40"/>
                    <a:pt x="142" y="42"/>
                  </a:cubicBezTo>
                  <a:cubicBezTo>
                    <a:pt x="142" y="42"/>
                    <a:pt x="141" y="42"/>
                    <a:pt x="141" y="41"/>
                  </a:cubicBezTo>
                  <a:cubicBezTo>
                    <a:pt x="140" y="41"/>
                    <a:pt x="140" y="40"/>
                    <a:pt x="140" y="40"/>
                  </a:cubicBezTo>
                  <a:cubicBezTo>
                    <a:pt x="140" y="40"/>
                    <a:pt x="138" y="39"/>
                    <a:pt x="137" y="40"/>
                  </a:cubicBezTo>
                  <a:cubicBezTo>
                    <a:pt x="136" y="40"/>
                    <a:pt x="135" y="40"/>
                    <a:pt x="135" y="41"/>
                  </a:cubicBezTo>
                  <a:cubicBezTo>
                    <a:pt x="136" y="42"/>
                    <a:pt x="138" y="41"/>
                    <a:pt x="138" y="42"/>
                  </a:cubicBezTo>
                  <a:cubicBezTo>
                    <a:pt x="138" y="43"/>
                    <a:pt x="136" y="44"/>
                    <a:pt x="136" y="46"/>
                  </a:cubicBezTo>
                  <a:cubicBezTo>
                    <a:pt x="136" y="46"/>
                    <a:pt x="137" y="47"/>
                    <a:pt x="138" y="47"/>
                  </a:cubicBezTo>
                  <a:cubicBezTo>
                    <a:pt x="138" y="48"/>
                    <a:pt x="139" y="47"/>
                    <a:pt x="139" y="47"/>
                  </a:cubicBezTo>
                  <a:cubicBezTo>
                    <a:pt x="140" y="47"/>
                    <a:pt x="140" y="48"/>
                    <a:pt x="140" y="48"/>
                  </a:cubicBezTo>
                  <a:cubicBezTo>
                    <a:pt x="141" y="47"/>
                    <a:pt x="142" y="46"/>
                    <a:pt x="143" y="46"/>
                  </a:cubicBezTo>
                  <a:cubicBezTo>
                    <a:pt x="144" y="48"/>
                    <a:pt x="142" y="48"/>
                    <a:pt x="140" y="49"/>
                  </a:cubicBezTo>
                  <a:cubicBezTo>
                    <a:pt x="139" y="49"/>
                    <a:pt x="137" y="50"/>
                    <a:pt x="135" y="50"/>
                  </a:cubicBezTo>
                  <a:cubicBezTo>
                    <a:pt x="135" y="51"/>
                    <a:pt x="132" y="53"/>
                    <a:pt x="132" y="51"/>
                  </a:cubicBezTo>
                  <a:cubicBezTo>
                    <a:pt x="132" y="50"/>
                    <a:pt x="133" y="50"/>
                    <a:pt x="133" y="49"/>
                  </a:cubicBezTo>
                  <a:cubicBezTo>
                    <a:pt x="132" y="49"/>
                    <a:pt x="130" y="50"/>
                    <a:pt x="129" y="50"/>
                  </a:cubicBezTo>
                  <a:cubicBezTo>
                    <a:pt x="127" y="51"/>
                    <a:pt x="124" y="51"/>
                    <a:pt x="123" y="54"/>
                  </a:cubicBezTo>
                  <a:cubicBezTo>
                    <a:pt x="123" y="54"/>
                    <a:pt x="123" y="55"/>
                    <a:pt x="123" y="55"/>
                  </a:cubicBezTo>
                  <a:cubicBezTo>
                    <a:pt x="123" y="56"/>
                    <a:pt x="121" y="56"/>
                    <a:pt x="121" y="56"/>
                  </a:cubicBezTo>
                  <a:cubicBezTo>
                    <a:pt x="120" y="56"/>
                    <a:pt x="119" y="57"/>
                    <a:pt x="118" y="57"/>
                  </a:cubicBezTo>
                  <a:cubicBezTo>
                    <a:pt x="118" y="57"/>
                    <a:pt x="117" y="57"/>
                    <a:pt x="117" y="57"/>
                  </a:cubicBezTo>
                  <a:cubicBezTo>
                    <a:pt x="116" y="58"/>
                    <a:pt x="116" y="59"/>
                    <a:pt x="115" y="59"/>
                  </a:cubicBezTo>
                  <a:cubicBezTo>
                    <a:pt x="114" y="60"/>
                    <a:pt x="114" y="60"/>
                    <a:pt x="113" y="60"/>
                  </a:cubicBezTo>
                  <a:cubicBezTo>
                    <a:pt x="113" y="61"/>
                    <a:pt x="113" y="62"/>
                    <a:pt x="112" y="62"/>
                  </a:cubicBezTo>
                  <a:cubicBezTo>
                    <a:pt x="111" y="62"/>
                    <a:pt x="111" y="62"/>
                    <a:pt x="110" y="62"/>
                  </a:cubicBezTo>
                  <a:cubicBezTo>
                    <a:pt x="110" y="63"/>
                    <a:pt x="111" y="65"/>
                    <a:pt x="110" y="66"/>
                  </a:cubicBezTo>
                  <a:cubicBezTo>
                    <a:pt x="109" y="67"/>
                    <a:pt x="108" y="68"/>
                    <a:pt x="106" y="69"/>
                  </a:cubicBezTo>
                  <a:cubicBezTo>
                    <a:pt x="105" y="69"/>
                    <a:pt x="105" y="69"/>
                    <a:pt x="103" y="70"/>
                  </a:cubicBezTo>
                  <a:cubicBezTo>
                    <a:pt x="103" y="70"/>
                    <a:pt x="102" y="71"/>
                    <a:pt x="101" y="72"/>
                  </a:cubicBezTo>
                  <a:cubicBezTo>
                    <a:pt x="101" y="72"/>
                    <a:pt x="100" y="72"/>
                    <a:pt x="100" y="73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100" y="116"/>
                    <a:pt x="101" y="115"/>
                    <a:pt x="101" y="115"/>
                  </a:cubicBezTo>
                  <a:cubicBezTo>
                    <a:pt x="102" y="114"/>
                    <a:pt x="102" y="113"/>
                    <a:pt x="103" y="112"/>
                  </a:cubicBezTo>
                  <a:cubicBezTo>
                    <a:pt x="104" y="112"/>
                    <a:pt x="105" y="112"/>
                    <a:pt x="106" y="111"/>
                  </a:cubicBezTo>
                  <a:cubicBezTo>
                    <a:pt x="107" y="111"/>
                    <a:pt x="107" y="111"/>
                    <a:pt x="108" y="110"/>
                  </a:cubicBezTo>
                  <a:cubicBezTo>
                    <a:pt x="108" y="110"/>
                    <a:pt x="109" y="109"/>
                    <a:pt x="109" y="110"/>
                  </a:cubicBezTo>
                  <a:cubicBezTo>
                    <a:pt x="110" y="111"/>
                    <a:pt x="108" y="111"/>
                    <a:pt x="109" y="112"/>
                  </a:cubicBezTo>
                  <a:cubicBezTo>
                    <a:pt x="110" y="113"/>
                    <a:pt x="111" y="111"/>
                    <a:pt x="112" y="111"/>
                  </a:cubicBezTo>
                  <a:cubicBezTo>
                    <a:pt x="112" y="111"/>
                    <a:pt x="114" y="111"/>
                    <a:pt x="114" y="112"/>
                  </a:cubicBezTo>
                  <a:cubicBezTo>
                    <a:pt x="115" y="112"/>
                    <a:pt x="115" y="113"/>
                    <a:pt x="116" y="113"/>
                  </a:cubicBezTo>
                  <a:cubicBezTo>
                    <a:pt x="117" y="113"/>
                    <a:pt x="117" y="113"/>
                    <a:pt x="118" y="113"/>
                  </a:cubicBezTo>
                  <a:cubicBezTo>
                    <a:pt x="119" y="113"/>
                    <a:pt x="120" y="114"/>
                    <a:pt x="121" y="114"/>
                  </a:cubicBezTo>
                  <a:cubicBezTo>
                    <a:pt x="122" y="114"/>
                    <a:pt x="122" y="113"/>
                    <a:pt x="123" y="113"/>
                  </a:cubicBezTo>
                  <a:cubicBezTo>
                    <a:pt x="125" y="112"/>
                    <a:pt x="125" y="113"/>
                    <a:pt x="126" y="114"/>
                  </a:cubicBezTo>
                  <a:cubicBezTo>
                    <a:pt x="127" y="114"/>
                    <a:pt x="127" y="113"/>
                    <a:pt x="128" y="113"/>
                  </a:cubicBezTo>
                  <a:cubicBezTo>
                    <a:pt x="127" y="114"/>
                    <a:pt x="128" y="115"/>
                    <a:pt x="128" y="115"/>
                  </a:cubicBezTo>
                  <a:cubicBezTo>
                    <a:pt x="129" y="116"/>
                    <a:pt x="128" y="116"/>
                    <a:pt x="129" y="116"/>
                  </a:cubicBezTo>
                  <a:cubicBezTo>
                    <a:pt x="129" y="117"/>
                    <a:pt x="130" y="117"/>
                    <a:pt x="131" y="117"/>
                  </a:cubicBezTo>
                  <a:cubicBezTo>
                    <a:pt x="132" y="118"/>
                    <a:pt x="132" y="119"/>
                    <a:pt x="133" y="120"/>
                  </a:cubicBezTo>
                  <a:cubicBezTo>
                    <a:pt x="134" y="121"/>
                    <a:pt x="135" y="122"/>
                    <a:pt x="136" y="122"/>
                  </a:cubicBezTo>
                  <a:cubicBezTo>
                    <a:pt x="137" y="122"/>
                    <a:pt x="138" y="121"/>
                    <a:pt x="139" y="121"/>
                  </a:cubicBezTo>
                  <a:cubicBezTo>
                    <a:pt x="141" y="122"/>
                    <a:pt x="143" y="123"/>
                    <a:pt x="144" y="124"/>
                  </a:cubicBezTo>
                  <a:cubicBezTo>
                    <a:pt x="145" y="124"/>
                    <a:pt x="146" y="125"/>
                    <a:pt x="146" y="126"/>
                  </a:cubicBezTo>
                  <a:cubicBezTo>
                    <a:pt x="146" y="126"/>
                    <a:pt x="146" y="127"/>
                    <a:pt x="146" y="127"/>
                  </a:cubicBezTo>
                  <a:cubicBezTo>
                    <a:pt x="147" y="129"/>
                    <a:pt x="148" y="129"/>
                    <a:pt x="148" y="131"/>
                  </a:cubicBezTo>
                  <a:cubicBezTo>
                    <a:pt x="148" y="132"/>
                    <a:pt x="149" y="132"/>
                    <a:pt x="149" y="133"/>
                  </a:cubicBezTo>
                  <a:cubicBezTo>
                    <a:pt x="150" y="133"/>
                    <a:pt x="151" y="134"/>
                    <a:pt x="151" y="134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4" y="134"/>
                    <a:pt x="154" y="134"/>
                    <a:pt x="155" y="135"/>
                  </a:cubicBezTo>
                  <a:cubicBezTo>
                    <a:pt x="156" y="135"/>
                    <a:pt x="157" y="135"/>
                    <a:pt x="157" y="135"/>
                  </a:cubicBezTo>
                  <a:cubicBezTo>
                    <a:pt x="158" y="136"/>
                    <a:pt x="158" y="137"/>
                    <a:pt x="158" y="137"/>
                  </a:cubicBezTo>
                  <a:cubicBezTo>
                    <a:pt x="159" y="137"/>
                    <a:pt x="160" y="137"/>
                    <a:pt x="160" y="137"/>
                  </a:cubicBezTo>
                  <a:cubicBezTo>
                    <a:pt x="161" y="137"/>
                    <a:pt x="163" y="138"/>
                    <a:pt x="164" y="138"/>
                  </a:cubicBezTo>
                  <a:cubicBezTo>
                    <a:pt x="164" y="138"/>
                    <a:pt x="165" y="138"/>
                    <a:pt x="165" y="138"/>
                  </a:cubicBezTo>
                  <a:cubicBezTo>
                    <a:pt x="167" y="138"/>
                    <a:pt x="168" y="139"/>
                    <a:pt x="169" y="139"/>
                  </a:cubicBezTo>
                  <a:cubicBezTo>
                    <a:pt x="156" y="159"/>
                    <a:pt x="137" y="173"/>
                    <a:pt x="114" y="179"/>
                  </a:cubicBezTo>
                  <a:cubicBezTo>
                    <a:pt x="114" y="178"/>
                    <a:pt x="114" y="177"/>
                    <a:pt x="114" y="176"/>
                  </a:cubicBezTo>
                  <a:cubicBezTo>
                    <a:pt x="114" y="174"/>
                    <a:pt x="114" y="173"/>
                    <a:pt x="114" y="171"/>
                  </a:cubicBezTo>
                  <a:cubicBezTo>
                    <a:pt x="113" y="170"/>
                    <a:pt x="113" y="168"/>
                    <a:pt x="113" y="167"/>
                  </a:cubicBezTo>
                  <a:cubicBezTo>
                    <a:pt x="112" y="166"/>
                    <a:pt x="110" y="165"/>
                    <a:pt x="109" y="164"/>
                  </a:cubicBezTo>
                  <a:cubicBezTo>
                    <a:pt x="108" y="164"/>
                    <a:pt x="107" y="163"/>
                    <a:pt x="107" y="163"/>
                  </a:cubicBezTo>
                  <a:cubicBezTo>
                    <a:pt x="105" y="162"/>
                    <a:pt x="102" y="161"/>
                    <a:pt x="101" y="159"/>
                  </a:cubicBezTo>
                  <a:cubicBezTo>
                    <a:pt x="101" y="159"/>
                    <a:pt x="101" y="158"/>
                    <a:pt x="101" y="157"/>
                  </a:cubicBezTo>
                  <a:cubicBezTo>
                    <a:pt x="100" y="157"/>
                    <a:pt x="100" y="156"/>
                    <a:pt x="100" y="156"/>
                  </a:cubicBezTo>
                  <a:lnTo>
                    <a:pt x="100" y="186"/>
                  </a:lnTo>
                  <a:close/>
                  <a:moveTo>
                    <a:pt x="2" y="74"/>
                  </a:moveTo>
                  <a:cubicBezTo>
                    <a:pt x="2" y="76"/>
                    <a:pt x="1" y="77"/>
                    <a:pt x="1" y="79"/>
                  </a:cubicBezTo>
                  <a:cubicBezTo>
                    <a:pt x="1" y="80"/>
                    <a:pt x="1" y="82"/>
                    <a:pt x="0" y="83"/>
                  </a:cubicBezTo>
                  <a:cubicBezTo>
                    <a:pt x="0" y="87"/>
                    <a:pt x="0" y="90"/>
                    <a:pt x="0" y="93"/>
                  </a:cubicBezTo>
                  <a:cubicBezTo>
                    <a:pt x="0" y="96"/>
                    <a:pt x="0" y="99"/>
                    <a:pt x="0" y="103"/>
                  </a:cubicBezTo>
                  <a:cubicBezTo>
                    <a:pt x="1" y="104"/>
                    <a:pt x="1" y="106"/>
                    <a:pt x="1" y="107"/>
                  </a:cubicBezTo>
                  <a:cubicBezTo>
                    <a:pt x="1" y="109"/>
                    <a:pt x="2" y="110"/>
                    <a:pt x="2" y="112"/>
                  </a:cubicBezTo>
                  <a:cubicBezTo>
                    <a:pt x="2" y="113"/>
                    <a:pt x="3" y="115"/>
                    <a:pt x="3" y="116"/>
                  </a:cubicBezTo>
                  <a:cubicBezTo>
                    <a:pt x="4" y="119"/>
                    <a:pt x="5" y="122"/>
                    <a:pt x="6" y="125"/>
                  </a:cubicBezTo>
                  <a:cubicBezTo>
                    <a:pt x="6" y="127"/>
                    <a:pt x="7" y="128"/>
                    <a:pt x="7" y="129"/>
                  </a:cubicBezTo>
                  <a:cubicBezTo>
                    <a:pt x="8" y="131"/>
                    <a:pt x="9" y="132"/>
                    <a:pt x="9" y="134"/>
                  </a:cubicBezTo>
                  <a:cubicBezTo>
                    <a:pt x="10" y="134"/>
                    <a:pt x="10" y="135"/>
                    <a:pt x="10" y="136"/>
                  </a:cubicBezTo>
                  <a:cubicBezTo>
                    <a:pt x="11" y="137"/>
                    <a:pt x="12" y="138"/>
                    <a:pt x="12" y="140"/>
                  </a:cubicBezTo>
                  <a:cubicBezTo>
                    <a:pt x="15" y="143"/>
                    <a:pt x="17" y="147"/>
                    <a:pt x="20" y="151"/>
                  </a:cubicBezTo>
                  <a:cubicBezTo>
                    <a:pt x="21" y="152"/>
                    <a:pt x="23" y="154"/>
                    <a:pt x="24" y="156"/>
                  </a:cubicBezTo>
                  <a:cubicBezTo>
                    <a:pt x="25" y="157"/>
                    <a:pt x="26" y="158"/>
                    <a:pt x="27" y="159"/>
                  </a:cubicBezTo>
                  <a:cubicBezTo>
                    <a:pt x="28" y="160"/>
                    <a:pt x="29" y="161"/>
                    <a:pt x="31" y="162"/>
                  </a:cubicBezTo>
                  <a:cubicBezTo>
                    <a:pt x="36" y="167"/>
                    <a:pt x="41" y="171"/>
                    <a:pt x="47" y="174"/>
                  </a:cubicBezTo>
                  <a:cubicBezTo>
                    <a:pt x="48" y="175"/>
                    <a:pt x="50" y="176"/>
                    <a:pt x="51" y="176"/>
                  </a:cubicBezTo>
                  <a:cubicBezTo>
                    <a:pt x="54" y="178"/>
                    <a:pt x="56" y="179"/>
                    <a:pt x="59" y="180"/>
                  </a:cubicBezTo>
                  <a:cubicBezTo>
                    <a:pt x="61" y="181"/>
                    <a:pt x="62" y="181"/>
                    <a:pt x="63" y="182"/>
                  </a:cubicBezTo>
                  <a:cubicBezTo>
                    <a:pt x="73" y="185"/>
                    <a:pt x="83" y="186"/>
                    <a:pt x="93" y="186"/>
                  </a:cubicBezTo>
                  <a:cubicBezTo>
                    <a:pt x="96" y="186"/>
                    <a:pt x="98" y="186"/>
                    <a:pt x="100" y="186"/>
                  </a:cubicBezTo>
                  <a:cubicBezTo>
                    <a:pt x="100" y="156"/>
                    <a:pt x="100" y="156"/>
                    <a:pt x="100" y="156"/>
                  </a:cubicBezTo>
                  <a:cubicBezTo>
                    <a:pt x="99" y="156"/>
                    <a:pt x="99" y="155"/>
                    <a:pt x="99" y="154"/>
                  </a:cubicBezTo>
                  <a:cubicBezTo>
                    <a:pt x="97" y="153"/>
                    <a:pt x="96" y="150"/>
                    <a:pt x="95" y="148"/>
                  </a:cubicBezTo>
                  <a:cubicBezTo>
                    <a:pt x="95" y="147"/>
                    <a:pt x="94" y="146"/>
                    <a:pt x="93" y="145"/>
                  </a:cubicBezTo>
                  <a:cubicBezTo>
                    <a:pt x="93" y="145"/>
                    <a:pt x="92" y="144"/>
                    <a:pt x="91" y="144"/>
                  </a:cubicBezTo>
                  <a:cubicBezTo>
                    <a:pt x="91" y="143"/>
                    <a:pt x="90" y="142"/>
                    <a:pt x="91" y="141"/>
                  </a:cubicBezTo>
                  <a:cubicBezTo>
                    <a:pt x="91" y="140"/>
                    <a:pt x="93" y="139"/>
                    <a:pt x="93" y="138"/>
                  </a:cubicBezTo>
                  <a:cubicBezTo>
                    <a:pt x="93" y="138"/>
                    <a:pt x="92" y="137"/>
                    <a:pt x="91" y="136"/>
                  </a:cubicBezTo>
                  <a:cubicBezTo>
                    <a:pt x="91" y="135"/>
                    <a:pt x="92" y="134"/>
                    <a:pt x="92" y="133"/>
                  </a:cubicBezTo>
                  <a:cubicBezTo>
                    <a:pt x="92" y="132"/>
                    <a:pt x="93" y="132"/>
                    <a:pt x="93" y="131"/>
                  </a:cubicBezTo>
                  <a:cubicBezTo>
                    <a:pt x="93" y="131"/>
                    <a:pt x="94" y="131"/>
                    <a:pt x="94" y="130"/>
                  </a:cubicBezTo>
                  <a:cubicBezTo>
                    <a:pt x="95" y="130"/>
                    <a:pt x="95" y="129"/>
                    <a:pt x="95" y="129"/>
                  </a:cubicBezTo>
                  <a:cubicBezTo>
                    <a:pt x="96" y="128"/>
                    <a:pt x="97" y="127"/>
                    <a:pt x="98" y="126"/>
                  </a:cubicBezTo>
                  <a:cubicBezTo>
                    <a:pt x="98" y="126"/>
                    <a:pt x="98" y="122"/>
                    <a:pt x="98" y="121"/>
                  </a:cubicBezTo>
                  <a:cubicBezTo>
                    <a:pt x="98" y="120"/>
                    <a:pt x="97" y="119"/>
                    <a:pt x="97" y="119"/>
                  </a:cubicBezTo>
                  <a:cubicBezTo>
                    <a:pt x="96" y="117"/>
                    <a:pt x="96" y="116"/>
                    <a:pt x="95" y="116"/>
                  </a:cubicBezTo>
                  <a:cubicBezTo>
                    <a:pt x="94" y="116"/>
                    <a:pt x="93" y="117"/>
                    <a:pt x="93" y="117"/>
                  </a:cubicBezTo>
                  <a:cubicBezTo>
                    <a:pt x="93" y="118"/>
                    <a:pt x="93" y="119"/>
                    <a:pt x="92" y="119"/>
                  </a:cubicBezTo>
                  <a:cubicBezTo>
                    <a:pt x="91" y="119"/>
                    <a:pt x="91" y="118"/>
                    <a:pt x="89" y="118"/>
                  </a:cubicBezTo>
                  <a:cubicBezTo>
                    <a:pt x="89" y="117"/>
                    <a:pt x="88" y="117"/>
                    <a:pt x="88" y="117"/>
                  </a:cubicBezTo>
                  <a:cubicBezTo>
                    <a:pt x="87" y="117"/>
                    <a:pt x="86" y="115"/>
                    <a:pt x="85" y="115"/>
                  </a:cubicBezTo>
                  <a:cubicBezTo>
                    <a:pt x="84" y="114"/>
                    <a:pt x="84" y="115"/>
                    <a:pt x="83" y="114"/>
                  </a:cubicBezTo>
                  <a:cubicBezTo>
                    <a:pt x="83" y="113"/>
                    <a:pt x="83" y="112"/>
                    <a:pt x="83" y="112"/>
                  </a:cubicBezTo>
                  <a:cubicBezTo>
                    <a:pt x="82" y="111"/>
                    <a:pt x="81" y="109"/>
                    <a:pt x="80" y="108"/>
                  </a:cubicBezTo>
                  <a:cubicBezTo>
                    <a:pt x="79" y="108"/>
                    <a:pt x="78" y="108"/>
                    <a:pt x="77" y="108"/>
                  </a:cubicBezTo>
                  <a:cubicBezTo>
                    <a:pt x="76" y="107"/>
                    <a:pt x="76" y="107"/>
                    <a:pt x="75" y="107"/>
                  </a:cubicBezTo>
                  <a:cubicBezTo>
                    <a:pt x="74" y="107"/>
                    <a:pt x="74" y="107"/>
                    <a:pt x="73" y="107"/>
                  </a:cubicBezTo>
                  <a:cubicBezTo>
                    <a:pt x="71" y="106"/>
                    <a:pt x="70" y="102"/>
                    <a:pt x="68" y="103"/>
                  </a:cubicBezTo>
                  <a:cubicBezTo>
                    <a:pt x="67" y="103"/>
                    <a:pt x="66" y="104"/>
                    <a:pt x="65" y="104"/>
                  </a:cubicBezTo>
                  <a:cubicBezTo>
                    <a:pt x="64" y="104"/>
                    <a:pt x="62" y="103"/>
                    <a:pt x="61" y="102"/>
                  </a:cubicBezTo>
                  <a:cubicBezTo>
                    <a:pt x="60" y="102"/>
                    <a:pt x="58" y="101"/>
                    <a:pt x="57" y="101"/>
                  </a:cubicBezTo>
                  <a:cubicBezTo>
                    <a:pt x="57" y="100"/>
                    <a:pt x="56" y="100"/>
                    <a:pt x="55" y="99"/>
                  </a:cubicBezTo>
                  <a:cubicBezTo>
                    <a:pt x="55" y="99"/>
                    <a:pt x="54" y="99"/>
                    <a:pt x="54" y="99"/>
                  </a:cubicBezTo>
                  <a:cubicBezTo>
                    <a:pt x="53" y="99"/>
                    <a:pt x="52" y="98"/>
                    <a:pt x="51" y="97"/>
                  </a:cubicBezTo>
                  <a:cubicBezTo>
                    <a:pt x="51" y="97"/>
                    <a:pt x="50" y="96"/>
                    <a:pt x="50" y="95"/>
                  </a:cubicBezTo>
                  <a:cubicBezTo>
                    <a:pt x="50" y="95"/>
                    <a:pt x="51" y="94"/>
                    <a:pt x="51" y="93"/>
                  </a:cubicBezTo>
                  <a:cubicBezTo>
                    <a:pt x="51" y="91"/>
                    <a:pt x="49" y="89"/>
                    <a:pt x="48" y="88"/>
                  </a:cubicBezTo>
                  <a:cubicBezTo>
                    <a:pt x="47" y="87"/>
                    <a:pt x="46" y="86"/>
                    <a:pt x="45" y="85"/>
                  </a:cubicBezTo>
                  <a:cubicBezTo>
                    <a:pt x="45" y="84"/>
                    <a:pt x="45" y="84"/>
                    <a:pt x="45" y="83"/>
                  </a:cubicBezTo>
                  <a:cubicBezTo>
                    <a:pt x="45" y="83"/>
                    <a:pt x="44" y="82"/>
                    <a:pt x="44" y="81"/>
                  </a:cubicBez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2" y="76"/>
                    <a:pt x="42" y="75"/>
                  </a:cubicBezTo>
                  <a:cubicBezTo>
                    <a:pt x="41" y="73"/>
                    <a:pt x="38" y="74"/>
                    <a:pt x="39" y="76"/>
                  </a:cubicBezTo>
                  <a:cubicBezTo>
                    <a:pt x="39" y="77"/>
                    <a:pt x="40" y="78"/>
                    <a:pt x="40" y="79"/>
                  </a:cubicBezTo>
                  <a:cubicBezTo>
                    <a:pt x="40" y="79"/>
                    <a:pt x="40" y="80"/>
                    <a:pt x="41" y="81"/>
                  </a:cubicBezTo>
                  <a:cubicBezTo>
                    <a:pt x="41" y="82"/>
                    <a:pt x="42" y="82"/>
                    <a:pt x="42" y="83"/>
                  </a:cubicBezTo>
                  <a:cubicBezTo>
                    <a:pt x="42" y="85"/>
                    <a:pt x="42" y="86"/>
                    <a:pt x="43" y="87"/>
                  </a:cubicBezTo>
                  <a:cubicBezTo>
                    <a:pt x="43" y="88"/>
                    <a:pt x="44" y="88"/>
                    <a:pt x="44" y="89"/>
                  </a:cubicBezTo>
                  <a:cubicBezTo>
                    <a:pt x="43" y="90"/>
                    <a:pt x="42" y="89"/>
                    <a:pt x="42" y="88"/>
                  </a:cubicBezTo>
                  <a:cubicBezTo>
                    <a:pt x="41" y="88"/>
                    <a:pt x="40" y="87"/>
                    <a:pt x="40" y="86"/>
                  </a:cubicBezTo>
                  <a:cubicBezTo>
                    <a:pt x="40" y="86"/>
                    <a:pt x="40" y="85"/>
                    <a:pt x="40" y="84"/>
                  </a:cubicBezTo>
                  <a:cubicBezTo>
                    <a:pt x="40" y="83"/>
                    <a:pt x="37" y="83"/>
                    <a:pt x="37" y="81"/>
                  </a:cubicBezTo>
                  <a:cubicBezTo>
                    <a:pt x="37" y="81"/>
                    <a:pt x="38" y="80"/>
                    <a:pt x="38" y="80"/>
                  </a:cubicBezTo>
                  <a:cubicBezTo>
                    <a:pt x="38" y="79"/>
                    <a:pt x="37" y="78"/>
                    <a:pt x="37" y="77"/>
                  </a:cubicBezTo>
                  <a:cubicBezTo>
                    <a:pt x="36" y="76"/>
                    <a:pt x="36" y="75"/>
                    <a:pt x="36" y="74"/>
                  </a:cubicBezTo>
                  <a:cubicBezTo>
                    <a:pt x="36" y="73"/>
                    <a:pt x="36" y="72"/>
                    <a:pt x="36" y="71"/>
                  </a:cubicBezTo>
                  <a:cubicBezTo>
                    <a:pt x="36" y="70"/>
                    <a:pt x="35" y="69"/>
                    <a:pt x="34" y="69"/>
                  </a:cubicBezTo>
                  <a:cubicBezTo>
                    <a:pt x="33" y="69"/>
                    <a:pt x="32" y="69"/>
                    <a:pt x="32" y="68"/>
                  </a:cubicBezTo>
                  <a:cubicBezTo>
                    <a:pt x="32" y="67"/>
                    <a:pt x="31" y="66"/>
                    <a:pt x="31" y="65"/>
                  </a:cubicBezTo>
                  <a:cubicBezTo>
                    <a:pt x="31" y="64"/>
                    <a:pt x="31" y="63"/>
                    <a:pt x="31" y="62"/>
                  </a:cubicBezTo>
                  <a:cubicBezTo>
                    <a:pt x="31" y="60"/>
                    <a:pt x="31" y="59"/>
                    <a:pt x="31" y="58"/>
                  </a:cubicBezTo>
                  <a:cubicBezTo>
                    <a:pt x="32" y="57"/>
                    <a:pt x="33" y="56"/>
                    <a:pt x="33" y="55"/>
                  </a:cubicBezTo>
                  <a:cubicBezTo>
                    <a:pt x="34" y="55"/>
                    <a:pt x="34" y="54"/>
                    <a:pt x="34" y="53"/>
                  </a:cubicBezTo>
                  <a:cubicBezTo>
                    <a:pt x="35" y="52"/>
                    <a:pt x="36" y="51"/>
                    <a:pt x="37" y="49"/>
                  </a:cubicBezTo>
                  <a:cubicBezTo>
                    <a:pt x="39" y="48"/>
                    <a:pt x="40" y="47"/>
                    <a:pt x="40" y="45"/>
                  </a:cubicBezTo>
                  <a:cubicBezTo>
                    <a:pt x="41" y="44"/>
                    <a:pt x="41" y="43"/>
                    <a:pt x="41" y="43"/>
                  </a:cubicBezTo>
                  <a:cubicBezTo>
                    <a:pt x="41" y="42"/>
                    <a:pt x="39" y="41"/>
                    <a:pt x="39" y="40"/>
                  </a:cubicBezTo>
                  <a:cubicBezTo>
                    <a:pt x="39" y="39"/>
                    <a:pt x="40" y="39"/>
                    <a:pt x="41" y="38"/>
                  </a:cubicBezTo>
                  <a:cubicBezTo>
                    <a:pt x="41" y="38"/>
                    <a:pt x="41" y="37"/>
                    <a:pt x="41" y="36"/>
                  </a:cubicBezTo>
                  <a:cubicBezTo>
                    <a:pt x="41" y="35"/>
                    <a:pt x="40" y="34"/>
                    <a:pt x="41" y="33"/>
                  </a:cubicBezTo>
                  <a:cubicBezTo>
                    <a:pt x="41" y="33"/>
                    <a:pt x="42" y="32"/>
                    <a:pt x="41" y="31"/>
                  </a:cubicBezTo>
                  <a:cubicBezTo>
                    <a:pt x="41" y="30"/>
                    <a:pt x="40" y="32"/>
                    <a:pt x="39" y="31"/>
                  </a:cubicBezTo>
                  <a:cubicBezTo>
                    <a:pt x="38" y="31"/>
                    <a:pt x="39" y="30"/>
                    <a:pt x="39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7"/>
                    <a:pt x="40" y="26"/>
                    <a:pt x="40" y="26"/>
                  </a:cubicBezTo>
                  <a:cubicBezTo>
                    <a:pt x="39" y="26"/>
                    <a:pt x="39" y="25"/>
                    <a:pt x="38" y="24"/>
                  </a:cubicBezTo>
                  <a:cubicBezTo>
                    <a:pt x="49" y="15"/>
                    <a:pt x="63" y="9"/>
                    <a:pt x="78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6"/>
                    <a:pt x="78" y="7"/>
                    <a:pt x="78" y="7"/>
                  </a:cubicBezTo>
                  <a:cubicBezTo>
                    <a:pt x="79" y="6"/>
                    <a:pt x="80" y="7"/>
                    <a:pt x="81" y="7"/>
                  </a:cubicBezTo>
                  <a:cubicBezTo>
                    <a:pt x="82" y="7"/>
                    <a:pt x="83" y="6"/>
                    <a:pt x="84" y="7"/>
                  </a:cubicBezTo>
                  <a:cubicBezTo>
                    <a:pt x="86" y="7"/>
                    <a:pt x="88" y="9"/>
                    <a:pt x="90" y="8"/>
                  </a:cubicBezTo>
                  <a:cubicBezTo>
                    <a:pt x="90" y="7"/>
                    <a:pt x="90" y="7"/>
                    <a:pt x="90" y="6"/>
                  </a:cubicBezTo>
                  <a:cubicBezTo>
                    <a:pt x="91" y="6"/>
                    <a:pt x="91" y="5"/>
                    <a:pt x="91" y="5"/>
                  </a:cubicBezTo>
                  <a:cubicBezTo>
                    <a:pt x="92" y="5"/>
                    <a:pt x="93" y="5"/>
                    <a:pt x="93" y="5"/>
                  </a:cubicBezTo>
                  <a:cubicBezTo>
                    <a:pt x="96" y="5"/>
                    <a:pt x="98" y="5"/>
                    <a:pt x="100" y="5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8" y="0"/>
                    <a:pt x="97" y="0"/>
                    <a:pt x="95" y="0"/>
                  </a:cubicBezTo>
                  <a:cubicBezTo>
                    <a:pt x="94" y="0"/>
                    <a:pt x="94" y="0"/>
                    <a:pt x="93" y="0"/>
                  </a:cubicBezTo>
                  <a:cubicBezTo>
                    <a:pt x="92" y="0"/>
                    <a:pt x="91" y="0"/>
                    <a:pt x="90" y="0"/>
                  </a:cubicBezTo>
                  <a:cubicBezTo>
                    <a:pt x="81" y="0"/>
                    <a:pt x="72" y="2"/>
                    <a:pt x="63" y="5"/>
                  </a:cubicBezTo>
                  <a:cubicBezTo>
                    <a:pt x="62" y="5"/>
                    <a:pt x="61" y="6"/>
                    <a:pt x="59" y="6"/>
                  </a:cubicBezTo>
                  <a:cubicBezTo>
                    <a:pt x="59" y="6"/>
                    <a:pt x="58" y="6"/>
                    <a:pt x="58" y="7"/>
                  </a:cubicBezTo>
                  <a:cubicBezTo>
                    <a:pt x="57" y="7"/>
                    <a:pt x="56" y="7"/>
                    <a:pt x="55" y="8"/>
                  </a:cubicBezTo>
                  <a:cubicBezTo>
                    <a:pt x="54" y="9"/>
                    <a:pt x="52" y="9"/>
                    <a:pt x="51" y="10"/>
                  </a:cubicBezTo>
                  <a:cubicBezTo>
                    <a:pt x="49" y="11"/>
                    <a:pt x="48" y="11"/>
                    <a:pt x="47" y="12"/>
                  </a:cubicBezTo>
                  <a:cubicBezTo>
                    <a:pt x="42" y="15"/>
                    <a:pt x="37" y="19"/>
                    <a:pt x="32" y="22"/>
                  </a:cubicBezTo>
                  <a:cubicBezTo>
                    <a:pt x="32" y="23"/>
                    <a:pt x="31" y="23"/>
                    <a:pt x="31" y="24"/>
                  </a:cubicBezTo>
                  <a:cubicBezTo>
                    <a:pt x="29" y="25"/>
                    <a:pt x="28" y="26"/>
                    <a:pt x="27" y="27"/>
                  </a:cubicBezTo>
                  <a:cubicBezTo>
                    <a:pt x="26" y="28"/>
                    <a:pt x="25" y="29"/>
                    <a:pt x="24" y="30"/>
                  </a:cubicBezTo>
                  <a:cubicBezTo>
                    <a:pt x="23" y="32"/>
                    <a:pt x="21" y="34"/>
                    <a:pt x="20" y="35"/>
                  </a:cubicBezTo>
                  <a:cubicBezTo>
                    <a:pt x="17" y="39"/>
                    <a:pt x="15" y="43"/>
                    <a:pt x="12" y="47"/>
                  </a:cubicBezTo>
                  <a:cubicBezTo>
                    <a:pt x="12" y="48"/>
                    <a:pt x="11" y="49"/>
                    <a:pt x="10" y="51"/>
                  </a:cubicBezTo>
                  <a:cubicBezTo>
                    <a:pt x="10" y="51"/>
                    <a:pt x="10" y="52"/>
                    <a:pt x="9" y="53"/>
                  </a:cubicBezTo>
                  <a:cubicBezTo>
                    <a:pt x="8" y="55"/>
                    <a:pt x="7" y="57"/>
                    <a:pt x="6" y="59"/>
                  </a:cubicBezTo>
                  <a:cubicBezTo>
                    <a:pt x="6" y="60"/>
                    <a:pt x="6" y="60"/>
                    <a:pt x="6" y="61"/>
                  </a:cubicBezTo>
                  <a:cubicBezTo>
                    <a:pt x="5" y="64"/>
                    <a:pt x="4" y="67"/>
                    <a:pt x="3" y="70"/>
                  </a:cubicBezTo>
                  <a:cubicBezTo>
                    <a:pt x="3" y="71"/>
                    <a:pt x="2" y="73"/>
                    <a:pt x="2" y="74"/>
                  </a:cubicBezTo>
                  <a:close/>
                  <a:moveTo>
                    <a:pt x="100" y="73"/>
                  </a:moveTo>
                  <a:cubicBezTo>
                    <a:pt x="100" y="116"/>
                    <a:pt x="100" y="116"/>
                    <a:pt x="100" y="116"/>
                  </a:cubicBezTo>
                  <a:cubicBezTo>
                    <a:pt x="100" y="117"/>
                    <a:pt x="99" y="117"/>
                    <a:pt x="99" y="117"/>
                  </a:cubicBezTo>
                  <a:cubicBezTo>
                    <a:pt x="98" y="117"/>
                    <a:pt x="97" y="116"/>
                    <a:pt x="96" y="115"/>
                  </a:cubicBezTo>
                  <a:cubicBezTo>
                    <a:pt x="94" y="114"/>
                    <a:pt x="93" y="116"/>
                    <a:pt x="91" y="116"/>
                  </a:cubicBezTo>
                  <a:cubicBezTo>
                    <a:pt x="89" y="116"/>
                    <a:pt x="87" y="113"/>
                    <a:pt x="87" y="112"/>
                  </a:cubicBezTo>
                  <a:cubicBezTo>
                    <a:pt x="87" y="111"/>
                    <a:pt x="88" y="109"/>
                    <a:pt x="88" y="108"/>
                  </a:cubicBezTo>
                  <a:cubicBezTo>
                    <a:pt x="88" y="107"/>
                    <a:pt x="88" y="106"/>
                    <a:pt x="88" y="105"/>
                  </a:cubicBezTo>
                  <a:cubicBezTo>
                    <a:pt x="88" y="104"/>
                    <a:pt x="87" y="103"/>
                    <a:pt x="86" y="103"/>
                  </a:cubicBezTo>
                  <a:cubicBezTo>
                    <a:pt x="84" y="103"/>
                    <a:pt x="82" y="104"/>
                    <a:pt x="79" y="103"/>
                  </a:cubicBezTo>
                  <a:cubicBezTo>
                    <a:pt x="79" y="102"/>
                    <a:pt x="80" y="102"/>
                    <a:pt x="80" y="101"/>
                  </a:cubicBezTo>
                  <a:cubicBezTo>
                    <a:pt x="80" y="101"/>
                    <a:pt x="80" y="100"/>
                    <a:pt x="80" y="100"/>
                  </a:cubicBezTo>
                  <a:cubicBezTo>
                    <a:pt x="81" y="99"/>
                    <a:pt x="81" y="99"/>
                    <a:pt x="82" y="98"/>
                  </a:cubicBezTo>
                  <a:cubicBezTo>
                    <a:pt x="82" y="97"/>
                    <a:pt x="82" y="97"/>
                    <a:pt x="82" y="96"/>
                  </a:cubicBezTo>
                  <a:cubicBezTo>
                    <a:pt x="82" y="95"/>
                    <a:pt x="83" y="95"/>
                    <a:pt x="83" y="94"/>
                  </a:cubicBezTo>
                  <a:cubicBezTo>
                    <a:pt x="83" y="94"/>
                    <a:pt x="83" y="93"/>
                    <a:pt x="82" y="93"/>
                  </a:cubicBezTo>
                  <a:cubicBezTo>
                    <a:pt x="80" y="93"/>
                    <a:pt x="79" y="93"/>
                    <a:pt x="78" y="93"/>
                  </a:cubicBezTo>
                  <a:cubicBezTo>
                    <a:pt x="76" y="94"/>
                    <a:pt x="77" y="97"/>
                    <a:pt x="75" y="98"/>
                  </a:cubicBezTo>
                  <a:cubicBezTo>
                    <a:pt x="74" y="98"/>
                    <a:pt x="73" y="98"/>
                    <a:pt x="72" y="98"/>
                  </a:cubicBezTo>
                  <a:cubicBezTo>
                    <a:pt x="71" y="98"/>
                    <a:pt x="70" y="99"/>
                    <a:pt x="70" y="99"/>
                  </a:cubicBezTo>
                  <a:cubicBezTo>
                    <a:pt x="69" y="99"/>
                    <a:pt x="67" y="98"/>
                    <a:pt x="67" y="97"/>
                  </a:cubicBezTo>
                  <a:cubicBezTo>
                    <a:pt x="66" y="97"/>
                    <a:pt x="65" y="94"/>
                    <a:pt x="65" y="94"/>
                  </a:cubicBezTo>
                  <a:cubicBezTo>
                    <a:pt x="64" y="91"/>
                    <a:pt x="65" y="88"/>
                    <a:pt x="66" y="86"/>
                  </a:cubicBezTo>
                  <a:cubicBezTo>
                    <a:pt x="66" y="86"/>
                    <a:pt x="67" y="85"/>
                    <a:pt x="67" y="85"/>
                  </a:cubicBezTo>
                  <a:cubicBezTo>
                    <a:pt x="67" y="84"/>
                    <a:pt x="67" y="83"/>
                    <a:pt x="67" y="82"/>
                  </a:cubicBezTo>
                  <a:cubicBezTo>
                    <a:pt x="68" y="81"/>
                    <a:pt x="69" y="80"/>
                    <a:pt x="71" y="79"/>
                  </a:cubicBezTo>
                  <a:cubicBezTo>
                    <a:pt x="72" y="79"/>
                    <a:pt x="73" y="77"/>
                    <a:pt x="75" y="77"/>
                  </a:cubicBezTo>
                  <a:cubicBezTo>
                    <a:pt x="76" y="77"/>
                    <a:pt x="77" y="78"/>
                    <a:pt x="78" y="78"/>
                  </a:cubicBezTo>
                  <a:cubicBezTo>
                    <a:pt x="79" y="78"/>
                    <a:pt x="79" y="78"/>
                    <a:pt x="80" y="78"/>
                  </a:cubicBezTo>
                  <a:cubicBezTo>
                    <a:pt x="82" y="79"/>
                    <a:pt x="82" y="77"/>
                    <a:pt x="84" y="76"/>
                  </a:cubicBezTo>
                  <a:cubicBezTo>
                    <a:pt x="85" y="76"/>
                    <a:pt x="87" y="76"/>
                    <a:pt x="88" y="76"/>
                  </a:cubicBezTo>
                  <a:cubicBezTo>
                    <a:pt x="89" y="76"/>
                    <a:pt x="90" y="77"/>
                    <a:pt x="90" y="77"/>
                  </a:cubicBezTo>
                  <a:cubicBezTo>
                    <a:pt x="91" y="77"/>
                    <a:pt x="92" y="77"/>
                    <a:pt x="92" y="77"/>
                  </a:cubicBezTo>
                  <a:cubicBezTo>
                    <a:pt x="93" y="77"/>
                    <a:pt x="94" y="78"/>
                    <a:pt x="94" y="79"/>
                  </a:cubicBezTo>
                  <a:cubicBezTo>
                    <a:pt x="94" y="80"/>
                    <a:pt x="93" y="81"/>
                    <a:pt x="93" y="82"/>
                  </a:cubicBezTo>
                  <a:cubicBezTo>
                    <a:pt x="94" y="83"/>
                    <a:pt x="96" y="83"/>
                    <a:pt x="97" y="83"/>
                  </a:cubicBezTo>
                  <a:cubicBezTo>
                    <a:pt x="98" y="83"/>
                    <a:pt x="98" y="81"/>
                    <a:pt x="97" y="80"/>
                  </a:cubicBezTo>
                  <a:cubicBezTo>
                    <a:pt x="97" y="80"/>
                    <a:pt x="98" y="79"/>
                    <a:pt x="97" y="79"/>
                  </a:cubicBezTo>
                  <a:cubicBezTo>
                    <a:pt x="97" y="78"/>
                    <a:pt x="97" y="78"/>
                    <a:pt x="97" y="77"/>
                  </a:cubicBezTo>
                  <a:cubicBezTo>
                    <a:pt x="97" y="75"/>
                    <a:pt x="98" y="74"/>
                    <a:pt x="100" y="7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4" name="任意多边形: 形状 1493"/>
            <p:cNvSpPr/>
            <p:nvPr>
              <p:custDataLst>
                <p:tags r:id="rId86"/>
              </p:custDataLst>
            </p:nvPr>
          </p:nvSpPr>
          <p:spPr bwMode="auto">
            <a:xfrm flipH="1">
              <a:off x="3378887" y="4716561"/>
              <a:ext cx="133120" cy="123791"/>
            </a:xfrm>
            <a:custGeom>
              <a:avLst/>
              <a:gdLst>
                <a:gd name="T0" fmla="*/ 14 w 62"/>
                <a:gd name="T1" fmla="*/ 56 h 61"/>
                <a:gd name="T2" fmla="*/ 31 w 62"/>
                <a:gd name="T3" fmla="*/ 61 h 61"/>
                <a:gd name="T4" fmla="*/ 62 w 62"/>
                <a:gd name="T5" fmla="*/ 31 h 61"/>
                <a:gd name="T6" fmla="*/ 31 w 62"/>
                <a:gd name="T7" fmla="*/ 0 h 61"/>
                <a:gd name="T8" fmla="*/ 0 w 62"/>
                <a:gd name="T9" fmla="*/ 26 h 61"/>
                <a:gd name="T10" fmla="*/ 31 w 62"/>
                <a:gd name="T11" fmla="*/ 26 h 61"/>
                <a:gd name="T12" fmla="*/ 41 w 62"/>
                <a:gd name="T13" fmla="*/ 26 h 61"/>
                <a:gd name="T14" fmla="*/ 34 w 62"/>
                <a:gd name="T15" fmla="*/ 34 h 61"/>
                <a:gd name="T16" fmla="*/ 14 w 62"/>
                <a:gd name="T17" fmla="*/ 5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61">
                  <a:moveTo>
                    <a:pt x="14" y="56"/>
                  </a:moveTo>
                  <a:cubicBezTo>
                    <a:pt x="19" y="60"/>
                    <a:pt x="25" y="61"/>
                    <a:pt x="31" y="61"/>
                  </a:cubicBezTo>
                  <a:cubicBezTo>
                    <a:pt x="48" y="61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15" y="0"/>
                    <a:pt x="3" y="11"/>
                    <a:pt x="0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34" y="34"/>
                    <a:pt x="34" y="34"/>
                    <a:pt x="34" y="34"/>
                  </a:cubicBezTo>
                  <a:lnTo>
                    <a:pt x="14" y="5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5" name="任意多边形: 形状 1494"/>
            <p:cNvSpPr/>
            <p:nvPr>
              <p:custDataLst>
                <p:tags r:id="rId87"/>
              </p:custDataLst>
            </p:nvPr>
          </p:nvSpPr>
          <p:spPr bwMode="auto">
            <a:xfrm flipH="1">
              <a:off x="3445447" y="4779316"/>
              <a:ext cx="274447" cy="242424"/>
            </a:xfrm>
            <a:custGeom>
              <a:avLst/>
              <a:gdLst>
                <a:gd name="T0" fmla="*/ 57 w 127"/>
                <a:gd name="T1" fmla="*/ 63 h 119"/>
                <a:gd name="T2" fmla="*/ 57 w 127"/>
                <a:gd name="T3" fmla="*/ 67 h 119"/>
                <a:gd name="T4" fmla="*/ 57 w 127"/>
                <a:gd name="T5" fmla="*/ 70 h 119"/>
                <a:gd name="T6" fmla="*/ 57 w 127"/>
                <a:gd name="T7" fmla="*/ 109 h 119"/>
                <a:gd name="T8" fmla="*/ 42 w 127"/>
                <a:gd name="T9" fmla="*/ 119 h 119"/>
                <a:gd name="T10" fmla="*/ 83 w 127"/>
                <a:gd name="T11" fmla="*/ 119 h 119"/>
                <a:gd name="T12" fmla="*/ 70 w 127"/>
                <a:gd name="T13" fmla="*/ 109 h 119"/>
                <a:gd name="T14" fmla="*/ 70 w 127"/>
                <a:gd name="T15" fmla="*/ 70 h 119"/>
                <a:gd name="T16" fmla="*/ 70 w 127"/>
                <a:gd name="T17" fmla="*/ 67 h 119"/>
                <a:gd name="T18" fmla="*/ 70 w 127"/>
                <a:gd name="T19" fmla="*/ 63 h 119"/>
                <a:gd name="T20" fmla="*/ 106 w 127"/>
                <a:gd name="T21" fmla="*/ 23 h 119"/>
                <a:gd name="T22" fmla="*/ 127 w 127"/>
                <a:gd name="T23" fmla="*/ 0 h 119"/>
                <a:gd name="T24" fmla="*/ 96 w 127"/>
                <a:gd name="T25" fmla="*/ 0 h 119"/>
                <a:gd name="T26" fmla="*/ 0 w 127"/>
                <a:gd name="T27" fmla="*/ 0 h 119"/>
                <a:gd name="T28" fmla="*/ 57 w 127"/>
                <a:gd name="T29" fmla="*/ 6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119">
                  <a:moveTo>
                    <a:pt x="57" y="63"/>
                  </a:moveTo>
                  <a:cubicBezTo>
                    <a:pt x="57" y="67"/>
                    <a:pt x="57" y="67"/>
                    <a:pt x="57" y="67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48" y="110"/>
                    <a:pt x="42" y="114"/>
                    <a:pt x="42" y="119"/>
                  </a:cubicBezTo>
                  <a:cubicBezTo>
                    <a:pt x="83" y="119"/>
                    <a:pt x="83" y="119"/>
                    <a:pt x="83" y="119"/>
                  </a:cubicBezTo>
                  <a:cubicBezTo>
                    <a:pt x="83" y="114"/>
                    <a:pt x="78" y="110"/>
                    <a:pt x="70" y="109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7" y="6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6" name="任意多边形: 形状 1495"/>
            <p:cNvSpPr/>
            <p:nvPr>
              <p:custDataLst>
                <p:tags r:id="rId88"/>
              </p:custDataLst>
            </p:nvPr>
          </p:nvSpPr>
          <p:spPr bwMode="auto">
            <a:xfrm flipH="1">
              <a:off x="1943748" y="6115225"/>
              <a:ext cx="310004" cy="77368"/>
            </a:xfrm>
            <a:custGeom>
              <a:avLst/>
              <a:gdLst>
                <a:gd name="T0" fmla="*/ 222 w 340"/>
                <a:gd name="T1" fmla="*/ 45 h 90"/>
                <a:gd name="T2" fmla="*/ 118 w 340"/>
                <a:gd name="T3" fmla="*/ 45 h 90"/>
                <a:gd name="T4" fmla="*/ 118 w 340"/>
                <a:gd name="T5" fmla="*/ 0 h 90"/>
                <a:gd name="T6" fmla="*/ 0 w 340"/>
                <a:gd name="T7" fmla="*/ 0 h 90"/>
                <a:gd name="T8" fmla="*/ 0 w 340"/>
                <a:gd name="T9" fmla="*/ 90 h 90"/>
                <a:gd name="T10" fmla="*/ 340 w 340"/>
                <a:gd name="T11" fmla="*/ 90 h 90"/>
                <a:gd name="T12" fmla="*/ 340 w 340"/>
                <a:gd name="T13" fmla="*/ 0 h 90"/>
                <a:gd name="T14" fmla="*/ 222 w 340"/>
                <a:gd name="T15" fmla="*/ 0 h 90"/>
                <a:gd name="T16" fmla="*/ 222 w 340"/>
                <a:gd name="T17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0" h="90">
                  <a:moveTo>
                    <a:pt x="222" y="45"/>
                  </a:moveTo>
                  <a:lnTo>
                    <a:pt x="118" y="45"/>
                  </a:lnTo>
                  <a:lnTo>
                    <a:pt x="118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340" y="90"/>
                  </a:lnTo>
                  <a:lnTo>
                    <a:pt x="340" y="0"/>
                  </a:lnTo>
                  <a:lnTo>
                    <a:pt x="222" y="0"/>
                  </a:lnTo>
                  <a:lnTo>
                    <a:pt x="222" y="4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7" name="矩形 1496"/>
            <p:cNvSpPr/>
            <p:nvPr>
              <p:custDataLst>
                <p:tags r:id="rId89"/>
              </p:custDataLst>
            </p:nvPr>
          </p:nvSpPr>
          <p:spPr bwMode="auto">
            <a:xfrm flipH="1">
              <a:off x="2068661" y="6115225"/>
              <a:ext cx="60177" cy="22351"/>
            </a:xfrm>
            <a:prstGeom prst="rect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8" name="任意多边形: 形状 1497"/>
            <p:cNvSpPr/>
            <p:nvPr>
              <p:custDataLst>
                <p:tags r:id="rId90"/>
              </p:custDataLst>
            </p:nvPr>
          </p:nvSpPr>
          <p:spPr bwMode="auto">
            <a:xfrm flipH="1">
              <a:off x="1943748" y="5944153"/>
              <a:ext cx="310004" cy="154738"/>
            </a:xfrm>
            <a:custGeom>
              <a:avLst/>
              <a:gdLst>
                <a:gd name="T0" fmla="*/ 253 w 340"/>
                <a:gd name="T1" fmla="*/ 0 h 180"/>
                <a:gd name="T2" fmla="*/ 170 w 340"/>
                <a:gd name="T3" fmla="*/ 0 h 180"/>
                <a:gd name="T4" fmla="*/ 170 w 340"/>
                <a:gd name="T5" fmla="*/ 31 h 180"/>
                <a:gd name="T6" fmla="*/ 224 w 340"/>
                <a:gd name="T7" fmla="*/ 31 h 180"/>
                <a:gd name="T8" fmla="*/ 224 w 340"/>
                <a:gd name="T9" fmla="*/ 67 h 180"/>
                <a:gd name="T10" fmla="*/ 170 w 340"/>
                <a:gd name="T11" fmla="*/ 67 h 180"/>
                <a:gd name="T12" fmla="*/ 170 w 340"/>
                <a:gd name="T13" fmla="*/ 180 h 180"/>
                <a:gd name="T14" fmla="*/ 222 w 340"/>
                <a:gd name="T15" fmla="*/ 180 h 180"/>
                <a:gd name="T16" fmla="*/ 340 w 340"/>
                <a:gd name="T17" fmla="*/ 180 h 180"/>
                <a:gd name="T18" fmla="*/ 340 w 340"/>
                <a:gd name="T19" fmla="*/ 67 h 180"/>
                <a:gd name="T20" fmla="*/ 253 w 340"/>
                <a:gd name="T21" fmla="*/ 67 h 180"/>
                <a:gd name="T22" fmla="*/ 253 w 340"/>
                <a:gd name="T23" fmla="*/ 0 h 180"/>
                <a:gd name="T24" fmla="*/ 170 w 340"/>
                <a:gd name="T25" fmla="*/ 0 h 180"/>
                <a:gd name="T26" fmla="*/ 87 w 340"/>
                <a:gd name="T27" fmla="*/ 0 h 180"/>
                <a:gd name="T28" fmla="*/ 87 w 340"/>
                <a:gd name="T29" fmla="*/ 67 h 180"/>
                <a:gd name="T30" fmla="*/ 0 w 340"/>
                <a:gd name="T31" fmla="*/ 67 h 180"/>
                <a:gd name="T32" fmla="*/ 0 w 340"/>
                <a:gd name="T33" fmla="*/ 180 h 180"/>
                <a:gd name="T34" fmla="*/ 118 w 340"/>
                <a:gd name="T35" fmla="*/ 180 h 180"/>
                <a:gd name="T36" fmla="*/ 170 w 340"/>
                <a:gd name="T37" fmla="*/ 180 h 180"/>
                <a:gd name="T38" fmla="*/ 170 w 340"/>
                <a:gd name="T39" fmla="*/ 67 h 180"/>
                <a:gd name="T40" fmla="*/ 116 w 340"/>
                <a:gd name="T41" fmla="*/ 67 h 180"/>
                <a:gd name="T42" fmla="*/ 116 w 340"/>
                <a:gd name="T43" fmla="*/ 67 h 180"/>
                <a:gd name="T44" fmla="*/ 116 w 340"/>
                <a:gd name="T45" fmla="*/ 31 h 180"/>
                <a:gd name="T46" fmla="*/ 170 w 340"/>
                <a:gd name="T47" fmla="*/ 31 h 180"/>
                <a:gd name="T48" fmla="*/ 170 w 340"/>
                <a:gd name="T4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0" h="180">
                  <a:moveTo>
                    <a:pt x="253" y="0"/>
                  </a:moveTo>
                  <a:lnTo>
                    <a:pt x="170" y="0"/>
                  </a:lnTo>
                  <a:lnTo>
                    <a:pt x="170" y="31"/>
                  </a:lnTo>
                  <a:lnTo>
                    <a:pt x="224" y="31"/>
                  </a:lnTo>
                  <a:lnTo>
                    <a:pt x="224" y="67"/>
                  </a:lnTo>
                  <a:lnTo>
                    <a:pt x="170" y="67"/>
                  </a:lnTo>
                  <a:lnTo>
                    <a:pt x="170" y="180"/>
                  </a:lnTo>
                  <a:lnTo>
                    <a:pt x="222" y="180"/>
                  </a:lnTo>
                  <a:lnTo>
                    <a:pt x="340" y="180"/>
                  </a:lnTo>
                  <a:lnTo>
                    <a:pt x="340" y="67"/>
                  </a:lnTo>
                  <a:lnTo>
                    <a:pt x="253" y="67"/>
                  </a:lnTo>
                  <a:lnTo>
                    <a:pt x="253" y="0"/>
                  </a:lnTo>
                  <a:close/>
                  <a:moveTo>
                    <a:pt x="170" y="0"/>
                  </a:moveTo>
                  <a:lnTo>
                    <a:pt x="87" y="0"/>
                  </a:lnTo>
                  <a:lnTo>
                    <a:pt x="87" y="67"/>
                  </a:lnTo>
                  <a:lnTo>
                    <a:pt x="0" y="67"/>
                  </a:lnTo>
                  <a:lnTo>
                    <a:pt x="0" y="180"/>
                  </a:lnTo>
                  <a:lnTo>
                    <a:pt x="118" y="180"/>
                  </a:lnTo>
                  <a:lnTo>
                    <a:pt x="170" y="180"/>
                  </a:lnTo>
                  <a:lnTo>
                    <a:pt x="170" y="67"/>
                  </a:lnTo>
                  <a:lnTo>
                    <a:pt x="116" y="67"/>
                  </a:lnTo>
                  <a:lnTo>
                    <a:pt x="116" y="67"/>
                  </a:lnTo>
                  <a:lnTo>
                    <a:pt x="116" y="31"/>
                  </a:lnTo>
                  <a:lnTo>
                    <a:pt x="170" y="31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499" name="任意多边形: 形状 1498"/>
            <p:cNvSpPr/>
            <p:nvPr>
              <p:custDataLst>
                <p:tags r:id="rId91"/>
              </p:custDataLst>
            </p:nvPr>
          </p:nvSpPr>
          <p:spPr bwMode="auto">
            <a:xfrm flipH="1">
              <a:off x="4155723" y="2373993"/>
              <a:ext cx="226121" cy="189124"/>
            </a:xfrm>
            <a:custGeom>
              <a:avLst/>
              <a:gdLst>
                <a:gd name="T0" fmla="*/ 0 w 248"/>
                <a:gd name="T1" fmla="*/ 88 h 220"/>
                <a:gd name="T2" fmla="*/ 0 w 248"/>
                <a:gd name="T3" fmla="*/ 189 h 220"/>
                <a:gd name="T4" fmla="*/ 5 w 248"/>
                <a:gd name="T5" fmla="*/ 189 h 220"/>
                <a:gd name="T6" fmla="*/ 40 w 248"/>
                <a:gd name="T7" fmla="*/ 189 h 220"/>
                <a:gd name="T8" fmla="*/ 50 w 248"/>
                <a:gd name="T9" fmla="*/ 189 h 220"/>
                <a:gd name="T10" fmla="*/ 50 w 248"/>
                <a:gd name="T11" fmla="*/ 199 h 220"/>
                <a:gd name="T12" fmla="*/ 50 w 248"/>
                <a:gd name="T13" fmla="*/ 220 h 220"/>
                <a:gd name="T14" fmla="*/ 64 w 248"/>
                <a:gd name="T15" fmla="*/ 220 h 220"/>
                <a:gd name="T16" fmla="*/ 64 w 248"/>
                <a:gd name="T17" fmla="*/ 199 h 220"/>
                <a:gd name="T18" fmla="*/ 64 w 248"/>
                <a:gd name="T19" fmla="*/ 189 h 220"/>
                <a:gd name="T20" fmla="*/ 73 w 248"/>
                <a:gd name="T21" fmla="*/ 189 h 220"/>
                <a:gd name="T22" fmla="*/ 109 w 248"/>
                <a:gd name="T23" fmla="*/ 189 h 220"/>
                <a:gd name="T24" fmla="*/ 118 w 248"/>
                <a:gd name="T25" fmla="*/ 189 h 220"/>
                <a:gd name="T26" fmla="*/ 118 w 248"/>
                <a:gd name="T27" fmla="*/ 199 h 220"/>
                <a:gd name="T28" fmla="*/ 118 w 248"/>
                <a:gd name="T29" fmla="*/ 220 h 220"/>
                <a:gd name="T30" fmla="*/ 130 w 248"/>
                <a:gd name="T31" fmla="*/ 220 h 220"/>
                <a:gd name="T32" fmla="*/ 130 w 248"/>
                <a:gd name="T33" fmla="*/ 199 h 220"/>
                <a:gd name="T34" fmla="*/ 130 w 248"/>
                <a:gd name="T35" fmla="*/ 189 h 220"/>
                <a:gd name="T36" fmla="*/ 139 w 248"/>
                <a:gd name="T37" fmla="*/ 189 h 220"/>
                <a:gd name="T38" fmla="*/ 175 w 248"/>
                <a:gd name="T39" fmla="*/ 189 h 220"/>
                <a:gd name="T40" fmla="*/ 184 w 248"/>
                <a:gd name="T41" fmla="*/ 189 h 220"/>
                <a:gd name="T42" fmla="*/ 184 w 248"/>
                <a:gd name="T43" fmla="*/ 199 h 220"/>
                <a:gd name="T44" fmla="*/ 184 w 248"/>
                <a:gd name="T45" fmla="*/ 220 h 220"/>
                <a:gd name="T46" fmla="*/ 199 w 248"/>
                <a:gd name="T47" fmla="*/ 220 h 220"/>
                <a:gd name="T48" fmla="*/ 199 w 248"/>
                <a:gd name="T49" fmla="*/ 199 h 220"/>
                <a:gd name="T50" fmla="*/ 199 w 248"/>
                <a:gd name="T51" fmla="*/ 189 h 220"/>
                <a:gd name="T52" fmla="*/ 208 w 248"/>
                <a:gd name="T53" fmla="*/ 189 h 220"/>
                <a:gd name="T54" fmla="*/ 241 w 248"/>
                <a:gd name="T55" fmla="*/ 189 h 220"/>
                <a:gd name="T56" fmla="*/ 248 w 248"/>
                <a:gd name="T57" fmla="*/ 189 h 220"/>
                <a:gd name="T58" fmla="*/ 248 w 248"/>
                <a:gd name="T59" fmla="*/ 88 h 220"/>
                <a:gd name="T60" fmla="*/ 232 w 248"/>
                <a:gd name="T61" fmla="*/ 88 h 220"/>
                <a:gd name="T62" fmla="*/ 232 w 248"/>
                <a:gd name="T63" fmla="*/ 109 h 220"/>
                <a:gd name="T64" fmla="*/ 208 w 248"/>
                <a:gd name="T65" fmla="*/ 109 h 220"/>
                <a:gd name="T66" fmla="*/ 208 w 248"/>
                <a:gd name="T67" fmla="*/ 88 h 220"/>
                <a:gd name="T68" fmla="*/ 184 w 248"/>
                <a:gd name="T69" fmla="*/ 88 h 220"/>
                <a:gd name="T70" fmla="*/ 184 w 248"/>
                <a:gd name="T71" fmla="*/ 109 h 220"/>
                <a:gd name="T72" fmla="*/ 161 w 248"/>
                <a:gd name="T73" fmla="*/ 109 h 220"/>
                <a:gd name="T74" fmla="*/ 161 w 248"/>
                <a:gd name="T75" fmla="*/ 88 h 220"/>
                <a:gd name="T76" fmla="*/ 139 w 248"/>
                <a:gd name="T77" fmla="*/ 88 h 220"/>
                <a:gd name="T78" fmla="*/ 139 w 248"/>
                <a:gd name="T79" fmla="*/ 0 h 220"/>
                <a:gd name="T80" fmla="*/ 109 w 248"/>
                <a:gd name="T81" fmla="*/ 0 h 220"/>
                <a:gd name="T82" fmla="*/ 109 w 248"/>
                <a:gd name="T83" fmla="*/ 88 h 220"/>
                <a:gd name="T84" fmla="*/ 87 w 248"/>
                <a:gd name="T85" fmla="*/ 88 h 220"/>
                <a:gd name="T86" fmla="*/ 87 w 248"/>
                <a:gd name="T87" fmla="*/ 109 h 220"/>
                <a:gd name="T88" fmla="*/ 64 w 248"/>
                <a:gd name="T89" fmla="*/ 109 h 220"/>
                <a:gd name="T90" fmla="*/ 64 w 248"/>
                <a:gd name="T91" fmla="*/ 88 h 220"/>
                <a:gd name="T92" fmla="*/ 40 w 248"/>
                <a:gd name="T93" fmla="*/ 88 h 220"/>
                <a:gd name="T94" fmla="*/ 40 w 248"/>
                <a:gd name="T95" fmla="*/ 109 h 220"/>
                <a:gd name="T96" fmla="*/ 16 w 248"/>
                <a:gd name="T97" fmla="*/ 109 h 220"/>
                <a:gd name="T98" fmla="*/ 16 w 248"/>
                <a:gd name="T99" fmla="*/ 88 h 220"/>
                <a:gd name="T100" fmla="*/ 0 w 248"/>
                <a:gd name="T101" fmla="*/ 8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8" h="220">
                  <a:moveTo>
                    <a:pt x="0" y="88"/>
                  </a:moveTo>
                  <a:lnTo>
                    <a:pt x="0" y="189"/>
                  </a:lnTo>
                  <a:lnTo>
                    <a:pt x="5" y="189"/>
                  </a:lnTo>
                  <a:lnTo>
                    <a:pt x="40" y="189"/>
                  </a:lnTo>
                  <a:lnTo>
                    <a:pt x="50" y="189"/>
                  </a:lnTo>
                  <a:lnTo>
                    <a:pt x="50" y="199"/>
                  </a:lnTo>
                  <a:lnTo>
                    <a:pt x="50" y="220"/>
                  </a:lnTo>
                  <a:lnTo>
                    <a:pt x="64" y="220"/>
                  </a:lnTo>
                  <a:lnTo>
                    <a:pt x="64" y="199"/>
                  </a:lnTo>
                  <a:lnTo>
                    <a:pt x="64" y="189"/>
                  </a:lnTo>
                  <a:lnTo>
                    <a:pt x="73" y="189"/>
                  </a:lnTo>
                  <a:lnTo>
                    <a:pt x="109" y="189"/>
                  </a:lnTo>
                  <a:lnTo>
                    <a:pt x="118" y="189"/>
                  </a:lnTo>
                  <a:lnTo>
                    <a:pt x="118" y="199"/>
                  </a:lnTo>
                  <a:lnTo>
                    <a:pt x="118" y="220"/>
                  </a:lnTo>
                  <a:lnTo>
                    <a:pt x="130" y="220"/>
                  </a:lnTo>
                  <a:lnTo>
                    <a:pt x="130" y="199"/>
                  </a:lnTo>
                  <a:lnTo>
                    <a:pt x="130" y="189"/>
                  </a:lnTo>
                  <a:lnTo>
                    <a:pt x="139" y="189"/>
                  </a:lnTo>
                  <a:lnTo>
                    <a:pt x="175" y="189"/>
                  </a:lnTo>
                  <a:lnTo>
                    <a:pt x="184" y="189"/>
                  </a:lnTo>
                  <a:lnTo>
                    <a:pt x="184" y="199"/>
                  </a:lnTo>
                  <a:lnTo>
                    <a:pt x="184" y="220"/>
                  </a:lnTo>
                  <a:lnTo>
                    <a:pt x="199" y="220"/>
                  </a:lnTo>
                  <a:lnTo>
                    <a:pt x="199" y="199"/>
                  </a:lnTo>
                  <a:lnTo>
                    <a:pt x="199" y="189"/>
                  </a:lnTo>
                  <a:lnTo>
                    <a:pt x="208" y="189"/>
                  </a:lnTo>
                  <a:lnTo>
                    <a:pt x="241" y="189"/>
                  </a:lnTo>
                  <a:lnTo>
                    <a:pt x="248" y="189"/>
                  </a:lnTo>
                  <a:lnTo>
                    <a:pt x="248" y="88"/>
                  </a:lnTo>
                  <a:lnTo>
                    <a:pt x="232" y="88"/>
                  </a:lnTo>
                  <a:lnTo>
                    <a:pt x="232" y="109"/>
                  </a:lnTo>
                  <a:lnTo>
                    <a:pt x="208" y="109"/>
                  </a:lnTo>
                  <a:lnTo>
                    <a:pt x="208" y="88"/>
                  </a:lnTo>
                  <a:lnTo>
                    <a:pt x="184" y="88"/>
                  </a:lnTo>
                  <a:lnTo>
                    <a:pt x="184" y="109"/>
                  </a:lnTo>
                  <a:lnTo>
                    <a:pt x="161" y="109"/>
                  </a:lnTo>
                  <a:lnTo>
                    <a:pt x="161" y="88"/>
                  </a:lnTo>
                  <a:lnTo>
                    <a:pt x="139" y="88"/>
                  </a:lnTo>
                  <a:lnTo>
                    <a:pt x="139" y="0"/>
                  </a:lnTo>
                  <a:lnTo>
                    <a:pt x="109" y="0"/>
                  </a:lnTo>
                  <a:lnTo>
                    <a:pt x="109" y="88"/>
                  </a:lnTo>
                  <a:lnTo>
                    <a:pt x="87" y="88"/>
                  </a:lnTo>
                  <a:lnTo>
                    <a:pt x="87" y="109"/>
                  </a:lnTo>
                  <a:lnTo>
                    <a:pt x="64" y="109"/>
                  </a:lnTo>
                  <a:lnTo>
                    <a:pt x="64" y="88"/>
                  </a:lnTo>
                  <a:lnTo>
                    <a:pt x="40" y="88"/>
                  </a:lnTo>
                  <a:lnTo>
                    <a:pt x="40" y="109"/>
                  </a:lnTo>
                  <a:lnTo>
                    <a:pt x="16" y="109"/>
                  </a:lnTo>
                  <a:lnTo>
                    <a:pt x="16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0" name="任意多边形: 形状 1499"/>
            <p:cNvSpPr/>
            <p:nvPr>
              <p:custDataLst>
                <p:tags r:id="rId92"/>
              </p:custDataLst>
            </p:nvPr>
          </p:nvSpPr>
          <p:spPr bwMode="auto">
            <a:xfrm flipH="1">
              <a:off x="4110134" y="2545064"/>
              <a:ext cx="317299" cy="154738"/>
            </a:xfrm>
            <a:custGeom>
              <a:avLst/>
              <a:gdLst>
                <a:gd name="T0" fmla="*/ 348 w 348"/>
                <a:gd name="T1" fmla="*/ 0 h 180"/>
                <a:gd name="T2" fmla="*/ 324 w 348"/>
                <a:gd name="T3" fmla="*/ 0 h 180"/>
                <a:gd name="T4" fmla="*/ 324 w 348"/>
                <a:gd name="T5" fmla="*/ 31 h 180"/>
                <a:gd name="T6" fmla="*/ 298 w 348"/>
                <a:gd name="T7" fmla="*/ 31 h 180"/>
                <a:gd name="T8" fmla="*/ 291 w 348"/>
                <a:gd name="T9" fmla="*/ 31 h 180"/>
                <a:gd name="T10" fmla="*/ 291 w 348"/>
                <a:gd name="T11" fmla="*/ 0 h 180"/>
                <a:gd name="T12" fmla="*/ 258 w 348"/>
                <a:gd name="T13" fmla="*/ 0 h 180"/>
                <a:gd name="T14" fmla="*/ 258 w 348"/>
                <a:gd name="T15" fmla="*/ 31 h 180"/>
                <a:gd name="T16" fmla="*/ 225 w 348"/>
                <a:gd name="T17" fmla="*/ 31 h 180"/>
                <a:gd name="T18" fmla="*/ 225 w 348"/>
                <a:gd name="T19" fmla="*/ 0 h 180"/>
                <a:gd name="T20" fmla="*/ 189 w 348"/>
                <a:gd name="T21" fmla="*/ 0 h 180"/>
                <a:gd name="T22" fmla="*/ 189 w 348"/>
                <a:gd name="T23" fmla="*/ 31 h 180"/>
                <a:gd name="T24" fmla="*/ 159 w 348"/>
                <a:gd name="T25" fmla="*/ 31 h 180"/>
                <a:gd name="T26" fmla="*/ 159 w 348"/>
                <a:gd name="T27" fmla="*/ 0 h 180"/>
                <a:gd name="T28" fmla="*/ 123 w 348"/>
                <a:gd name="T29" fmla="*/ 0 h 180"/>
                <a:gd name="T30" fmla="*/ 123 w 348"/>
                <a:gd name="T31" fmla="*/ 31 h 180"/>
                <a:gd name="T32" fmla="*/ 90 w 348"/>
                <a:gd name="T33" fmla="*/ 31 h 180"/>
                <a:gd name="T34" fmla="*/ 90 w 348"/>
                <a:gd name="T35" fmla="*/ 0 h 180"/>
                <a:gd name="T36" fmla="*/ 55 w 348"/>
                <a:gd name="T37" fmla="*/ 0 h 180"/>
                <a:gd name="T38" fmla="*/ 55 w 348"/>
                <a:gd name="T39" fmla="*/ 31 h 180"/>
                <a:gd name="T40" fmla="*/ 50 w 348"/>
                <a:gd name="T41" fmla="*/ 31 h 180"/>
                <a:gd name="T42" fmla="*/ 24 w 348"/>
                <a:gd name="T43" fmla="*/ 31 h 180"/>
                <a:gd name="T44" fmla="*/ 24 w 348"/>
                <a:gd name="T45" fmla="*/ 0 h 180"/>
                <a:gd name="T46" fmla="*/ 0 w 348"/>
                <a:gd name="T47" fmla="*/ 0 h 180"/>
                <a:gd name="T48" fmla="*/ 0 w 348"/>
                <a:gd name="T49" fmla="*/ 180 h 180"/>
                <a:gd name="T50" fmla="*/ 133 w 348"/>
                <a:gd name="T51" fmla="*/ 180 h 180"/>
                <a:gd name="T52" fmla="*/ 133 w 348"/>
                <a:gd name="T53" fmla="*/ 109 h 180"/>
                <a:gd name="T54" fmla="*/ 225 w 348"/>
                <a:gd name="T55" fmla="*/ 109 h 180"/>
                <a:gd name="T56" fmla="*/ 225 w 348"/>
                <a:gd name="T57" fmla="*/ 180 h 180"/>
                <a:gd name="T58" fmla="*/ 348 w 348"/>
                <a:gd name="T59" fmla="*/ 180 h 180"/>
                <a:gd name="T60" fmla="*/ 348 w 348"/>
                <a:gd name="T61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8" h="180">
                  <a:moveTo>
                    <a:pt x="348" y="0"/>
                  </a:moveTo>
                  <a:lnTo>
                    <a:pt x="324" y="0"/>
                  </a:lnTo>
                  <a:lnTo>
                    <a:pt x="324" y="31"/>
                  </a:lnTo>
                  <a:lnTo>
                    <a:pt x="298" y="31"/>
                  </a:lnTo>
                  <a:lnTo>
                    <a:pt x="291" y="31"/>
                  </a:lnTo>
                  <a:lnTo>
                    <a:pt x="291" y="0"/>
                  </a:lnTo>
                  <a:lnTo>
                    <a:pt x="258" y="0"/>
                  </a:lnTo>
                  <a:lnTo>
                    <a:pt x="258" y="31"/>
                  </a:lnTo>
                  <a:lnTo>
                    <a:pt x="225" y="31"/>
                  </a:lnTo>
                  <a:lnTo>
                    <a:pt x="225" y="0"/>
                  </a:lnTo>
                  <a:lnTo>
                    <a:pt x="189" y="0"/>
                  </a:lnTo>
                  <a:lnTo>
                    <a:pt x="189" y="31"/>
                  </a:lnTo>
                  <a:lnTo>
                    <a:pt x="159" y="31"/>
                  </a:lnTo>
                  <a:lnTo>
                    <a:pt x="159" y="0"/>
                  </a:lnTo>
                  <a:lnTo>
                    <a:pt x="123" y="0"/>
                  </a:lnTo>
                  <a:lnTo>
                    <a:pt x="123" y="31"/>
                  </a:lnTo>
                  <a:lnTo>
                    <a:pt x="90" y="31"/>
                  </a:lnTo>
                  <a:lnTo>
                    <a:pt x="90" y="0"/>
                  </a:lnTo>
                  <a:lnTo>
                    <a:pt x="55" y="0"/>
                  </a:lnTo>
                  <a:lnTo>
                    <a:pt x="55" y="31"/>
                  </a:lnTo>
                  <a:lnTo>
                    <a:pt x="50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80"/>
                  </a:lnTo>
                  <a:lnTo>
                    <a:pt x="133" y="180"/>
                  </a:lnTo>
                  <a:lnTo>
                    <a:pt x="133" y="109"/>
                  </a:lnTo>
                  <a:lnTo>
                    <a:pt x="225" y="109"/>
                  </a:lnTo>
                  <a:lnTo>
                    <a:pt x="225" y="180"/>
                  </a:lnTo>
                  <a:lnTo>
                    <a:pt x="348" y="180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1" name="任意多边形: 形状 1500"/>
            <p:cNvSpPr/>
            <p:nvPr>
              <p:custDataLst>
                <p:tags r:id="rId93"/>
              </p:custDataLst>
            </p:nvPr>
          </p:nvSpPr>
          <p:spPr bwMode="auto">
            <a:xfrm flipH="1">
              <a:off x="4149340" y="2380010"/>
              <a:ext cx="90266" cy="55018"/>
            </a:xfrm>
            <a:custGeom>
              <a:avLst/>
              <a:gdLst>
                <a:gd name="T0" fmla="*/ 0 w 99"/>
                <a:gd name="T1" fmla="*/ 0 h 64"/>
                <a:gd name="T2" fmla="*/ 0 w 99"/>
                <a:gd name="T3" fmla="*/ 64 h 64"/>
                <a:gd name="T4" fmla="*/ 99 w 99"/>
                <a:gd name="T5" fmla="*/ 33 h 64"/>
                <a:gd name="T6" fmla="*/ 0 w 99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64">
                  <a:moveTo>
                    <a:pt x="0" y="0"/>
                  </a:moveTo>
                  <a:lnTo>
                    <a:pt x="0" y="64"/>
                  </a:lnTo>
                  <a:lnTo>
                    <a:pt x="99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2" name="任意多边形: 形状 1501"/>
            <p:cNvSpPr/>
            <p:nvPr>
              <p:custDataLst>
                <p:tags r:id="rId94"/>
              </p:custDataLst>
            </p:nvPr>
          </p:nvSpPr>
          <p:spPr bwMode="auto">
            <a:xfrm flipH="1">
              <a:off x="1653801" y="4995090"/>
              <a:ext cx="330976" cy="318933"/>
            </a:xfrm>
            <a:custGeom>
              <a:avLst/>
              <a:gdLst>
                <a:gd name="T0" fmla="*/ 77 w 153"/>
                <a:gd name="T1" fmla="*/ 0 h 157"/>
                <a:gd name="T2" fmla="*/ 60 w 153"/>
                <a:gd name="T3" fmla="*/ 34 h 157"/>
                <a:gd name="T4" fmla="*/ 60 w 153"/>
                <a:gd name="T5" fmla="*/ 58 h 157"/>
                <a:gd name="T6" fmla="*/ 0 w 153"/>
                <a:gd name="T7" fmla="*/ 83 h 157"/>
                <a:gd name="T8" fmla="*/ 0 w 153"/>
                <a:gd name="T9" fmla="*/ 100 h 157"/>
                <a:gd name="T10" fmla="*/ 60 w 153"/>
                <a:gd name="T11" fmla="*/ 88 h 157"/>
                <a:gd name="T12" fmla="*/ 60 w 153"/>
                <a:gd name="T13" fmla="*/ 122 h 157"/>
                <a:gd name="T14" fmla="*/ 34 w 153"/>
                <a:gd name="T15" fmla="*/ 140 h 157"/>
                <a:gd name="T16" fmla="*/ 34 w 153"/>
                <a:gd name="T17" fmla="*/ 157 h 157"/>
                <a:gd name="T18" fmla="*/ 76 w 153"/>
                <a:gd name="T19" fmla="*/ 142 h 157"/>
                <a:gd name="T20" fmla="*/ 118 w 153"/>
                <a:gd name="T21" fmla="*/ 157 h 157"/>
                <a:gd name="T22" fmla="*/ 118 w 153"/>
                <a:gd name="T23" fmla="*/ 140 h 157"/>
                <a:gd name="T24" fmla="*/ 94 w 153"/>
                <a:gd name="T25" fmla="*/ 122 h 157"/>
                <a:gd name="T26" fmla="*/ 94 w 153"/>
                <a:gd name="T27" fmla="*/ 88 h 157"/>
                <a:gd name="T28" fmla="*/ 153 w 153"/>
                <a:gd name="T29" fmla="*/ 100 h 157"/>
                <a:gd name="T30" fmla="*/ 153 w 153"/>
                <a:gd name="T31" fmla="*/ 83 h 157"/>
                <a:gd name="T32" fmla="*/ 94 w 153"/>
                <a:gd name="T33" fmla="*/ 58 h 157"/>
                <a:gd name="T34" fmla="*/ 94 w 153"/>
                <a:gd name="T35" fmla="*/ 34 h 157"/>
                <a:gd name="T36" fmla="*/ 77 w 153"/>
                <a:gd name="T3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3" h="157">
                  <a:moveTo>
                    <a:pt x="77" y="0"/>
                  </a:moveTo>
                  <a:cubicBezTo>
                    <a:pt x="67" y="0"/>
                    <a:pt x="60" y="24"/>
                    <a:pt x="60" y="3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8" y="140"/>
                    <a:pt x="118" y="140"/>
                    <a:pt x="118" y="140"/>
                  </a:cubicBezTo>
                  <a:cubicBezTo>
                    <a:pt x="94" y="122"/>
                    <a:pt x="94" y="122"/>
                    <a:pt x="94" y="122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53" y="83"/>
                    <a:pt x="153" y="83"/>
                    <a:pt x="153" y="83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24"/>
                    <a:pt x="86" y="0"/>
                    <a:pt x="77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3" name="任意多边形: 形状 1502"/>
            <p:cNvSpPr/>
            <p:nvPr>
              <p:custDataLst>
                <p:tags r:id="rId95"/>
              </p:custDataLst>
            </p:nvPr>
          </p:nvSpPr>
          <p:spPr bwMode="auto">
            <a:xfrm flipH="1">
              <a:off x="3063412" y="1668214"/>
              <a:ext cx="328241" cy="81668"/>
            </a:xfrm>
            <a:custGeom>
              <a:avLst/>
              <a:gdLst>
                <a:gd name="T0" fmla="*/ 50 w 360"/>
                <a:gd name="T1" fmla="*/ 95 h 95"/>
                <a:gd name="T2" fmla="*/ 57 w 360"/>
                <a:gd name="T3" fmla="*/ 95 h 95"/>
                <a:gd name="T4" fmla="*/ 303 w 360"/>
                <a:gd name="T5" fmla="*/ 95 h 95"/>
                <a:gd name="T6" fmla="*/ 308 w 360"/>
                <a:gd name="T7" fmla="*/ 95 h 95"/>
                <a:gd name="T8" fmla="*/ 360 w 360"/>
                <a:gd name="T9" fmla="*/ 0 h 95"/>
                <a:gd name="T10" fmla="*/ 358 w 360"/>
                <a:gd name="T11" fmla="*/ 0 h 95"/>
                <a:gd name="T12" fmla="*/ 306 w 360"/>
                <a:gd name="T13" fmla="*/ 0 h 95"/>
                <a:gd name="T14" fmla="*/ 263 w 360"/>
                <a:gd name="T15" fmla="*/ 0 h 95"/>
                <a:gd name="T16" fmla="*/ 97 w 360"/>
                <a:gd name="T17" fmla="*/ 0 h 95"/>
                <a:gd name="T18" fmla="*/ 55 w 360"/>
                <a:gd name="T19" fmla="*/ 0 h 95"/>
                <a:gd name="T20" fmla="*/ 0 w 360"/>
                <a:gd name="T21" fmla="*/ 0 h 95"/>
                <a:gd name="T22" fmla="*/ 50 w 360"/>
                <a:gd name="T2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0" h="95">
                  <a:moveTo>
                    <a:pt x="50" y="95"/>
                  </a:moveTo>
                  <a:lnTo>
                    <a:pt x="57" y="95"/>
                  </a:lnTo>
                  <a:lnTo>
                    <a:pt x="303" y="95"/>
                  </a:lnTo>
                  <a:lnTo>
                    <a:pt x="308" y="95"/>
                  </a:lnTo>
                  <a:lnTo>
                    <a:pt x="360" y="0"/>
                  </a:lnTo>
                  <a:lnTo>
                    <a:pt x="358" y="0"/>
                  </a:lnTo>
                  <a:lnTo>
                    <a:pt x="306" y="0"/>
                  </a:lnTo>
                  <a:lnTo>
                    <a:pt x="263" y="0"/>
                  </a:lnTo>
                  <a:lnTo>
                    <a:pt x="97" y="0"/>
                  </a:lnTo>
                  <a:lnTo>
                    <a:pt x="55" y="0"/>
                  </a:lnTo>
                  <a:lnTo>
                    <a:pt x="0" y="0"/>
                  </a:lnTo>
                  <a:lnTo>
                    <a:pt x="50" y="9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4" name="任意多边形: 形状 1503"/>
            <p:cNvSpPr/>
            <p:nvPr>
              <p:custDataLst>
                <p:tags r:id="rId96"/>
              </p:custDataLst>
            </p:nvPr>
          </p:nvSpPr>
          <p:spPr bwMode="auto">
            <a:xfrm flipH="1">
              <a:off x="3065235" y="1687125"/>
              <a:ext cx="326417" cy="146142"/>
            </a:xfrm>
            <a:custGeom>
              <a:avLst/>
              <a:gdLst>
                <a:gd name="T0" fmla="*/ 0 w 151"/>
                <a:gd name="T1" fmla="*/ 72 h 72"/>
                <a:gd name="T2" fmla="*/ 151 w 151"/>
                <a:gd name="T3" fmla="*/ 72 h 72"/>
                <a:gd name="T4" fmla="*/ 151 w 151"/>
                <a:gd name="T5" fmla="*/ 0 h 72"/>
                <a:gd name="T6" fmla="*/ 134 w 151"/>
                <a:gd name="T7" fmla="*/ 33 h 72"/>
                <a:gd name="T8" fmla="*/ 133 w 151"/>
                <a:gd name="T9" fmla="*/ 36 h 72"/>
                <a:gd name="T10" fmla="*/ 130 w 151"/>
                <a:gd name="T11" fmla="*/ 36 h 72"/>
                <a:gd name="T12" fmla="*/ 125 w 151"/>
                <a:gd name="T13" fmla="*/ 36 h 72"/>
                <a:gd name="T14" fmla="*/ 87 w 151"/>
                <a:gd name="T15" fmla="*/ 36 h 72"/>
                <a:gd name="T16" fmla="*/ 88 w 151"/>
                <a:gd name="T17" fmla="*/ 37 h 72"/>
                <a:gd name="T18" fmla="*/ 86 w 151"/>
                <a:gd name="T19" fmla="*/ 44 h 72"/>
                <a:gd name="T20" fmla="*/ 76 w 151"/>
                <a:gd name="T21" fmla="*/ 49 h 72"/>
                <a:gd name="T22" fmla="*/ 66 w 151"/>
                <a:gd name="T23" fmla="*/ 44 h 72"/>
                <a:gd name="T24" fmla="*/ 64 w 151"/>
                <a:gd name="T25" fmla="*/ 37 h 72"/>
                <a:gd name="T26" fmla="*/ 64 w 151"/>
                <a:gd name="T27" fmla="*/ 36 h 72"/>
                <a:gd name="T28" fmla="*/ 27 w 151"/>
                <a:gd name="T29" fmla="*/ 36 h 72"/>
                <a:gd name="T30" fmla="*/ 21 w 151"/>
                <a:gd name="T31" fmla="*/ 36 h 72"/>
                <a:gd name="T32" fmla="*/ 18 w 151"/>
                <a:gd name="T33" fmla="*/ 36 h 72"/>
                <a:gd name="T34" fmla="*/ 16 w 151"/>
                <a:gd name="T35" fmla="*/ 33 h 72"/>
                <a:gd name="T36" fmla="*/ 0 w 151"/>
                <a:gd name="T37" fmla="*/ 0 h 72"/>
                <a:gd name="T38" fmla="*/ 0 w 151"/>
                <a:gd name="T3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72">
                  <a:moveTo>
                    <a:pt x="0" y="72"/>
                  </a:moveTo>
                  <a:cubicBezTo>
                    <a:pt x="151" y="72"/>
                    <a:pt x="151" y="72"/>
                    <a:pt x="151" y="72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8" y="36"/>
                    <a:pt x="88" y="37"/>
                    <a:pt x="88" y="37"/>
                  </a:cubicBezTo>
                  <a:cubicBezTo>
                    <a:pt x="88" y="40"/>
                    <a:pt x="87" y="42"/>
                    <a:pt x="86" y="44"/>
                  </a:cubicBezTo>
                  <a:cubicBezTo>
                    <a:pt x="84" y="47"/>
                    <a:pt x="80" y="49"/>
                    <a:pt x="76" y="49"/>
                  </a:cubicBezTo>
                  <a:cubicBezTo>
                    <a:pt x="72" y="49"/>
                    <a:pt x="68" y="47"/>
                    <a:pt x="66" y="44"/>
                  </a:cubicBezTo>
                  <a:cubicBezTo>
                    <a:pt x="65" y="42"/>
                    <a:pt x="64" y="40"/>
                    <a:pt x="64" y="37"/>
                  </a:cubicBezTo>
                  <a:cubicBezTo>
                    <a:pt x="64" y="37"/>
                    <a:pt x="64" y="36"/>
                    <a:pt x="64" y="36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5" name="任意多边形: 形状 1504"/>
            <p:cNvSpPr/>
            <p:nvPr>
              <p:custDataLst>
                <p:tags r:id="rId97"/>
              </p:custDataLst>
            </p:nvPr>
          </p:nvSpPr>
          <p:spPr bwMode="auto">
            <a:xfrm flipH="1">
              <a:off x="3112647" y="1559038"/>
              <a:ext cx="228857" cy="99720"/>
            </a:xfrm>
            <a:custGeom>
              <a:avLst/>
              <a:gdLst>
                <a:gd name="T0" fmla="*/ 106 w 106"/>
                <a:gd name="T1" fmla="*/ 49 h 49"/>
                <a:gd name="T2" fmla="*/ 106 w 106"/>
                <a:gd name="T3" fmla="*/ 21 h 49"/>
                <a:gd name="T4" fmla="*/ 85 w 106"/>
                <a:gd name="T5" fmla="*/ 0 h 49"/>
                <a:gd name="T6" fmla="*/ 20 w 106"/>
                <a:gd name="T7" fmla="*/ 0 h 49"/>
                <a:gd name="T8" fmla="*/ 0 w 106"/>
                <a:gd name="T9" fmla="*/ 21 h 49"/>
                <a:gd name="T10" fmla="*/ 0 w 106"/>
                <a:gd name="T11" fmla="*/ 49 h 49"/>
                <a:gd name="T12" fmla="*/ 18 w 106"/>
                <a:gd name="T13" fmla="*/ 49 h 49"/>
                <a:gd name="T14" fmla="*/ 18 w 106"/>
                <a:gd name="T15" fmla="*/ 21 h 49"/>
                <a:gd name="T16" fmla="*/ 20 w 106"/>
                <a:gd name="T17" fmla="*/ 18 h 49"/>
                <a:gd name="T18" fmla="*/ 85 w 106"/>
                <a:gd name="T19" fmla="*/ 18 h 49"/>
                <a:gd name="T20" fmla="*/ 88 w 106"/>
                <a:gd name="T21" fmla="*/ 21 h 49"/>
                <a:gd name="T22" fmla="*/ 88 w 106"/>
                <a:gd name="T23" fmla="*/ 49 h 49"/>
                <a:gd name="T24" fmla="*/ 106 w 106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49">
                  <a:moveTo>
                    <a:pt x="106" y="49"/>
                  </a:moveTo>
                  <a:cubicBezTo>
                    <a:pt x="106" y="21"/>
                    <a:pt x="106" y="21"/>
                    <a:pt x="106" y="21"/>
                  </a:cubicBezTo>
                  <a:cubicBezTo>
                    <a:pt x="106" y="10"/>
                    <a:pt x="97" y="0"/>
                    <a:pt x="8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10"/>
                    <a:pt x="0" y="2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9" y="18"/>
                    <a:pt x="20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7" y="18"/>
                    <a:pt x="88" y="20"/>
                    <a:pt x="88" y="21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106" y="4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6" name="任意多边形: 形状 1505"/>
            <p:cNvSpPr/>
            <p:nvPr>
              <p:custDataLst>
                <p:tags r:id="rId98"/>
              </p:custDataLst>
            </p:nvPr>
          </p:nvSpPr>
          <p:spPr bwMode="auto">
            <a:xfrm flipH="1">
              <a:off x="3546654" y="2189166"/>
              <a:ext cx="405742" cy="382548"/>
            </a:xfrm>
            <a:custGeom>
              <a:avLst/>
              <a:gdLst>
                <a:gd name="T0" fmla="*/ 94 w 188"/>
                <a:gd name="T1" fmla="*/ 188 h 188"/>
                <a:gd name="T2" fmla="*/ 188 w 188"/>
                <a:gd name="T3" fmla="*/ 94 h 188"/>
                <a:gd name="T4" fmla="*/ 94 w 188"/>
                <a:gd name="T5" fmla="*/ 0 h 188"/>
                <a:gd name="T6" fmla="*/ 94 w 188"/>
                <a:gd name="T7" fmla="*/ 67 h 188"/>
                <a:gd name="T8" fmla="*/ 121 w 188"/>
                <a:gd name="T9" fmla="*/ 94 h 188"/>
                <a:gd name="T10" fmla="*/ 94 w 188"/>
                <a:gd name="T11" fmla="*/ 121 h 188"/>
                <a:gd name="T12" fmla="*/ 94 w 188"/>
                <a:gd name="T13" fmla="*/ 188 h 188"/>
                <a:gd name="T14" fmla="*/ 94 w 188"/>
                <a:gd name="T15" fmla="*/ 0 h 188"/>
                <a:gd name="T16" fmla="*/ 0 w 188"/>
                <a:gd name="T17" fmla="*/ 94 h 188"/>
                <a:gd name="T18" fmla="*/ 94 w 188"/>
                <a:gd name="T19" fmla="*/ 188 h 188"/>
                <a:gd name="T20" fmla="*/ 94 w 188"/>
                <a:gd name="T21" fmla="*/ 188 h 188"/>
                <a:gd name="T22" fmla="*/ 94 w 188"/>
                <a:gd name="T23" fmla="*/ 121 h 188"/>
                <a:gd name="T24" fmla="*/ 94 w 188"/>
                <a:gd name="T25" fmla="*/ 121 h 188"/>
                <a:gd name="T26" fmla="*/ 94 w 188"/>
                <a:gd name="T27" fmla="*/ 121 h 188"/>
                <a:gd name="T28" fmla="*/ 67 w 188"/>
                <a:gd name="T29" fmla="*/ 94 h 188"/>
                <a:gd name="T30" fmla="*/ 94 w 188"/>
                <a:gd name="T31" fmla="*/ 67 h 188"/>
                <a:gd name="T32" fmla="*/ 94 w 188"/>
                <a:gd name="T33" fmla="*/ 67 h 188"/>
                <a:gd name="T34" fmla="*/ 94 w 188"/>
                <a:gd name="T35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8" h="188">
                  <a:moveTo>
                    <a:pt x="94" y="188"/>
                  </a:moveTo>
                  <a:cubicBezTo>
                    <a:pt x="146" y="188"/>
                    <a:pt x="188" y="146"/>
                    <a:pt x="188" y="94"/>
                  </a:cubicBezTo>
                  <a:cubicBezTo>
                    <a:pt x="188" y="42"/>
                    <a:pt x="146" y="0"/>
                    <a:pt x="94" y="0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109" y="67"/>
                    <a:pt x="121" y="79"/>
                    <a:pt x="121" y="94"/>
                  </a:cubicBezTo>
                  <a:cubicBezTo>
                    <a:pt x="121" y="109"/>
                    <a:pt x="109" y="121"/>
                    <a:pt x="94" y="121"/>
                  </a:cubicBezTo>
                  <a:lnTo>
                    <a:pt x="94" y="188"/>
                  </a:lnTo>
                  <a:close/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cubicBezTo>
                    <a:pt x="94" y="188"/>
                    <a:pt x="94" y="188"/>
                    <a:pt x="94" y="188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79" y="121"/>
                    <a:pt x="67" y="109"/>
                    <a:pt x="67" y="94"/>
                  </a:cubicBezTo>
                  <a:cubicBezTo>
                    <a:pt x="67" y="79"/>
                    <a:pt x="79" y="67"/>
                    <a:pt x="94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0"/>
                    <a:pt x="94" y="0"/>
                    <a:pt x="94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7" name="任意多边形: 形状 1506"/>
            <p:cNvSpPr/>
            <p:nvPr>
              <p:custDataLst>
                <p:tags r:id="rId99"/>
              </p:custDataLst>
            </p:nvPr>
          </p:nvSpPr>
          <p:spPr bwMode="auto">
            <a:xfrm flipH="1">
              <a:off x="3702568" y="2335308"/>
              <a:ext cx="94825" cy="89403"/>
            </a:xfrm>
            <a:custGeom>
              <a:avLst/>
              <a:gdLst>
                <a:gd name="T0" fmla="*/ 22 w 44"/>
                <a:gd name="T1" fmla="*/ 44 h 44"/>
                <a:gd name="T2" fmla="*/ 44 w 44"/>
                <a:gd name="T3" fmla="*/ 22 h 44"/>
                <a:gd name="T4" fmla="*/ 22 w 44"/>
                <a:gd name="T5" fmla="*/ 0 h 44"/>
                <a:gd name="T6" fmla="*/ 22 w 44"/>
                <a:gd name="T7" fmla="*/ 6 h 44"/>
                <a:gd name="T8" fmla="*/ 38 w 44"/>
                <a:gd name="T9" fmla="*/ 22 h 44"/>
                <a:gd name="T10" fmla="*/ 22 w 44"/>
                <a:gd name="T11" fmla="*/ 37 h 44"/>
                <a:gd name="T12" fmla="*/ 22 w 44"/>
                <a:gd name="T13" fmla="*/ 44 h 44"/>
                <a:gd name="T14" fmla="*/ 22 w 44"/>
                <a:gd name="T15" fmla="*/ 0 h 44"/>
                <a:gd name="T16" fmla="*/ 0 w 44"/>
                <a:gd name="T17" fmla="*/ 22 h 44"/>
                <a:gd name="T18" fmla="*/ 22 w 44"/>
                <a:gd name="T19" fmla="*/ 44 h 44"/>
                <a:gd name="T20" fmla="*/ 22 w 44"/>
                <a:gd name="T21" fmla="*/ 44 h 44"/>
                <a:gd name="T22" fmla="*/ 22 w 44"/>
                <a:gd name="T23" fmla="*/ 37 h 44"/>
                <a:gd name="T24" fmla="*/ 22 w 44"/>
                <a:gd name="T25" fmla="*/ 37 h 44"/>
                <a:gd name="T26" fmla="*/ 22 w 44"/>
                <a:gd name="T27" fmla="*/ 37 h 44"/>
                <a:gd name="T28" fmla="*/ 7 w 44"/>
                <a:gd name="T29" fmla="*/ 22 h 44"/>
                <a:gd name="T30" fmla="*/ 22 w 44"/>
                <a:gd name="T31" fmla="*/ 6 h 44"/>
                <a:gd name="T32" fmla="*/ 22 w 44"/>
                <a:gd name="T33" fmla="*/ 6 h 44"/>
                <a:gd name="T34" fmla="*/ 22 w 44"/>
                <a:gd name="T3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44">
                  <a:moveTo>
                    <a:pt x="22" y="44"/>
                  </a:move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31" y="6"/>
                    <a:pt x="38" y="13"/>
                    <a:pt x="38" y="22"/>
                  </a:cubicBezTo>
                  <a:cubicBezTo>
                    <a:pt x="38" y="30"/>
                    <a:pt x="31" y="37"/>
                    <a:pt x="22" y="37"/>
                  </a:cubicBezTo>
                  <a:lnTo>
                    <a:pt x="22" y="44"/>
                  </a:lnTo>
                  <a:close/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14" y="37"/>
                    <a:pt x="7" y="30"/>
                    <a:pt x="7" y="22"/>
                  </a:cubicBezTo>
                  <a:cubicBezTo>
                    <a:pt x="7" y="13"/>
                    <a:pt x="14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8" name="任意多边形: 形状 1507"/>
            <p:cNvSpPr/>
            <p:nvPr>
              <p:custDataLst>
                <p:tags r:id="rId100"/>
              </p:custDataLst>
            </p:nvPr>
          </p:nvSpPr>
          <p:spPr bwMode="auto">
            <a:xfrm flipH="1">
              <a:off x="3594068" y="1335526"/>
              <a:ext cx="309093" cy="298302"/>
            </a:xfrm>
            <a:custGeom>
              <a:avLst/>
              <a:gdLst>
                <a:gd name="T0" fmla="*/ 140 w 143"/>
                <a:gd name="T1" fmla="*/ 103 h 147"/>
                <a:gd name="T2" fmla="*/ 112 w 143"/>
                <a:gd name="T3" fmla="*/ 75 h 147"/>
                <a:gd name="T4" fmla="*/ 107 w 143"/>
                <a:gd name="T5" fmla="*/ 70 h 147"/>
                <a:gd name="T6" fmla="*/ 79 w 143"/>
                <a:gd name="T7" fmla="*/ 37 h 147"/>
                <a:gd name="T8" fmla="*/ 67 w 143"/>
                <a:gd name="T9" fmla="*/ 10 h 147"/>
                <a:gd name="T10" fmla="*/ 52 w 143"/>
                <a:gd name="T11" fmla="*/ 9 h 147"/>
                <a:gd name="T12" fmla="*/ 47 w 143"/>
                <a:gd name="T13" fmla="*/ 21 h 147"/>
                <a:gd name="T14" fmla="*/ 55 w 143"/>
                <a:gd name="T15" fmla="*/ 42 h 147"/>
                <a:gd name="T16" fmla="*/ 56 w 143"/>
                <a:gd name="T17" fmla="*/ 56 h 147"/>
                <a:gd name="T18" fmla="*/ 13 w 143"/>
                <a:gd name="T19" fmla="*/ 56 h 147"/>
                <a:gd name="T20" fmla="*/ 3 w 143"/>
                <a:gd name="T21" fmla="*/ 71 h 147"/>
                <a:gd name="T22" fmla="*/ 25 w 143"/>
                <a:gd name="T23" fmla="*/ 131 h 147"/>
                <a:gd name="T24" fmla="*/ 34 w 143"/>
                <a:gd name="T25" fmla="*/ 137 h 147"/>
                <a:gd name="T26" fmla="*/ 85 w 143"/>
                <a:gd name="T27" fmla="*/ 137 h 147"/>
                <a:gd name="T28" fmla="*/ 97 w 143"/>
                <a:gd name="T29" fmla="*/ 142 h 147"/>
                <a:gd name="T30" fmla="*/ 99 w 143"/>
                <a:gd name="T31" fmla="*/ 144 h 147"/>
                <a:gd name="T32" fmla="*/ 108 w 143"/>
                <a:gd name="T33" fmla="*/ 144 h 147"/>
                <a:gd name="T34" fmla="*/ 140 w 143"/>
                <a:gd name="T35" fmla="*/ 112 h 147"/>
                <a:gd name="T36" fmla="*/ 140 w 143"/>
                <a:gd name="T37" fmla="*/ 10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" h="147">
                  <a:moveTo>
                    <a:pt x="140" y="103"/>
                  </a:moveTo>
                  <a:cubicBezTo>
                    <a:pt x="112" y="75"/>
                    <a:pt x="112" y="75"/>
                    <a:pt x="112" y="75"/>
                  </a:cubicBezTo>
                  <a:cubicBezTo>
                    <a:pt x="109" y="72"/>
                    <a:pt x="107" y="70"/>
                    <a:pt x="107" y="70"/>
                  </a:cubicBezTo>
                  <a:cubicBezTo>
                    <a:pt x="107" y="70"/>
                    <a:pt x="96" y="48"/>
                    <a:pt x="79" y="37"/>
                  </a:cubicBezTo>
                  <a:cubicBezTo>
                    <a:pt x="63" y="27"/>
                    <a:pt x="67" y="18"/>
                    <a:pt x="67" y="10"/>
                  </a:cubicBezTo>
                  <a:cubicBezTo>
                    <a:pt x="67" y="2"/>
                    <a:pt x="58" y="0"/>
                    <a:pt x="52" y="9"/>
                  </a:cubicBezTo>
                  <a:cubicBezTo>
                    <a:pt x="49" y="11"/>
                    <a:pt x="47" y="17"/>
                    <a:pt x="47" y="21"/>
                  </a:cubicBezTo>
                  <a:cubicBezTo>
                    <a:pt x="45" y="32"/>
                    <a:pt x="53" y="38"/>
                    <a:pt x="55" y="42"/>
                  </a:cubicBezTo>
                  <a:cubicBezTo>
                    <a:pt x="57" y="45"/>
                    <a:pt x="58" y="50"/>
                    <a:pt x="56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5" y="56"/>
                    <a:pt x="0" y="63"/>
                    <a:pt x="3" y="71"/>
                  </a:cubicBezTo>
                  <a:cubicBezTo>
                    <a:pt x="25" y="131"/>
                    <a:pt x="25" y="131"/>
                    <a:pt x="25" y="131"/>
                  </a:cubicBezTo>
                  <a:cubicBezTo>
                    <a:pt x="26" y="134"/>
                    <a:pt x="30" y="137"/>
                    <a:pt x="34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9" y="137"/>
                    <a:pt x="94" y="139"/>
                    <a:pt x="97" y="142"/>
                  </a:cubicBezTo>
                  <a:cubicBezTo>
                    <a:pt x="99" y="144"/>
                    <a:pt x="99" y="144"/>
                    <a:pt x="99" y="144"/>
                  </a:cubicBezTo>
                  <a:cubicBezTo>
                    <a:pt x="102" y="147"/>
                    <a:pt x="106" y="147"/>
                    <a:pt x="108" y="144"/>
                  </a:cubicBezTo>
                  <a:cubicBezTo>
                    <a:pt x="140" y="112"/>
                    <a:pt x="140" y="112"/>
                    <a:pt x="140" y="112"/>
                  </a:cubicBezTo>
                  <a:cubicBezTo>
                    <a:pt x="143" y="110"/>
                    <a:pt x="143" y="106"/>
                    <a:pt x="140" y="10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09" name="任意多边形: 形状 1508"/>
            <p:cNvSpPr/>
            <p:nvPr>
              <p:custDataLst>
                <p:tags r:id="rId101"/>
              </p:custDataLst>
            </p:nvPr>
          </p:nvSpPr>
          <p:spPr bwMode="auto">
            <a:xfrm flipH="1">
              <a:off x="3566713" y="1566773"/>
              <a:ext cx="101208" cy="93703"/>
            </a:xfrm>
            <a:custGeom>
              <a:avLst/>
              <a:gdLst>
                <a:gd name="T0" fmla="*/ 22 w 111"/>
                <a:gd name="T1" fmla="*/ 109 h 109"/>
                <a:gd name="T2" fmla="*/ 0 w 111"/>
                <a:gd name="T3" fmla="*/ 90 h 109"/>
                <a:gd name="T4" fmla="*/ 90 w 111"/>
                <a:gd name="T5" fmla="*/ 0 h 109"/>
                <a:gd name="T6" fmla="*/ 111 w 111"/>
                <a:gd name="T7" fmla="*/ 21 h 109"/>
                <a:gd name="T8" fmla="*/ 22 w 11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9">
                  <a:moveTo>
                    <a:pt x="22" y="109"/>
                  </a:moveTo>
                  <a:lnTo>
                    <a:pt x="0" y="90"/>
                  </a:lnTo>
                  <a:lnTo>
                    <a:pt x="90" y="0"/>
                  </a:lnTo>
                  <a:lnTo>
                    <a:pt x="111" y="21"/>
                  </a:lnTo>
                  <a:lnTo>
                    <a:pt x="22" y="109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0" name="任意多边形: 形状 1509"/>
            <p:cNvSpPr/>
            <p:nvPr>
              <p:custDataLst>
                <p:tags r:id="rId102"/>
              </p:custDataLst>
            </p:nvPr>
          </p:nvSpPr>
          <p:spPr bwMode="auto">
            <a:xfrm flipH="1">
              <a:off x="1941012" y="4236872"/>
              <a:ext cx="317299" cy="278529"/>
            </a:xfrm>
            <a:custGeom>
              <a:avLst/>
              <a:gdLst>
                <a:gd name="T0" fmla="*/ 132 w 147"/>
                <a:gd name="T1" fmla="*/ 22 h 137"/>
                <a:gd name="T2" fmla="*/ 110 w 147"/>
                <a:gd name="T3" fmla="*/ 0 h 137"/>
                <a:gd name="T4" fmla="*/ 73 w 147"/>
                <a:gd name="T5" fmla="*/ 0 h 137"/>
                <a:gd name="T6" fmla="*/ 73 w 147"/>
                <a:gd name="T7" fmla="*/ 18 h 137"/>
                <a:gd name="T8" fmla="*/ 110 w 147"/>
                <a:gd name="T9" fmla="*/ 18 h 137"/>
                <a:gd name="T10" fmla="*/ 115 w 147"/>
                <a:gd name="T11" fmla="*/ 22 h 137"/>
                <a:gd name="T12" fmla="*/ 115 w 147"/>
                <a:gd name="T13" fmla="*/ 59 h 137"/>
                <a:gd name="T14" fmla="*/ 73 w 147"/>
                <a:gd name="T15" fmla="*/ 59 h 137"/>
                <a:gd name="T16" fmla="*/ 73 w 147"/>
                <a:gd name="T17" fmla="*/ 76 h 137"/>
                <a:gd name="T18" fmla="*/ 73 w 147"/>
                <a:gd name="T19" fmla="*/ 76 h 137"/>
                <a:gd name="T20" fmla="*/ 87 w 147"/>
                <a:gd name="T21" fmla="*/ 89 h 137"/>
                <a:gd name="T22" fmla="*/ 81 w 147"/>
                <a:gd name="T23" fmla="*/ 100 h 137"/>
                <a:gd name="T24" fmla="*/ 79 w 147"/>
                <a:gd name="T25" fmla="*/ 101 h 137"/>
                <a:gd name="T26" fmla="*/ 79 w 147"/>
                <a:gd name="T27" fmla="*/ 118 h 137"/>
                <a:gd name="T28" fmla="*/ 79 w 147"/>
                <a:gd name="T29" fmla="*/ 121 h 137"/>
                <a:gd name="T30" fmla="*/ 79 w 147"/>
                <a:gd name="T31" fmla="*/ 121 h 137"/>
                <a:gd name="T32" fmla="*/ 73 w 147"/>
                <a:gd name="T33" fmla="*/ 121 h 137"/>
                <a:gd name="T34" fmla="*/ 73 w 147"/>
                <a:gd name="T35" fmla="*/ 137 h 137"/>
                <a:gd name="T36" fmla="*/ 147 w 147"/>
                <a:gd name="T37" fmla="*/ 137 h 137"/>
                <a:gd name="T38" fmla="*/ 147 w 147"/>
                <a:gd name="T39" fmla="*/ 59 h 137"/>
                <a:gd name="T40" fmla="*/ 132 w 147"/>
                <a:gd name="T41" fmla="*/ 59 h 137"/>
                <a:gd name="T42" fmla="*/ 132 w 147"/>
                <a:gd name="T43" fmla="*/ 22 h 137"/>
                <a:gd name="T44" fmla="*/ 73 w 147"/>
                <a:gd name="T45" fmla="*/ 0 h 137"/>
                <a:gd name="T46" fmla="*/ 37 w 147"/>
                <a:gd name="T47" fmla="*/ 0 h 137"/>
                <a:gd name="T48" fmla="*/ 15 w 147"/>
                <a:gd name="T49" fmla="*/ 22 h 137"/>
                <a:gd name="T50" fmla="*/ 15 w 147"/>
                <a:gd name="T51" fmla="*/ 59 h 137"/>
                <a:gd name="T52" fmla="*/ 0 w 147"/>
                <a:gd name="T53" fmla="*/ 59 h 137"/>
                <a:gd name="T54" fmla="*/ 0 w 147"/>
                <a:gd name="T55" fmla="*/ 137 h 137"/>
                <a:gd name="T56" fmla="*/ 73 w 147"/>
                <a:gd name="T57" fmla="*/ 137 h 137"/>
                <a:gd name="T58" fmla="*/ 73 w 147"/>
                <a:gd name="T59" fmla="*/ 121 h 137"/>
                <a:gd name="T60" fmla="*/ 67 w 147"/>
                <a:gd name="T61" fmla="*/ 121 h 137"/>
                <a:gd name="T62" fmla="*/ 67 w 147"/>
                <a:gd name="T63" fmla="*/ 118 h 137"/>
                <a:gd name="T64" fmla="*/ 67 w 147"/>
                <a:gd name="T65" fmla="*/ 101 h 137"/>
                <a:gd name="T66" fmla="*/ 66 w 147"/>
                <a:gd name="T67" fmla="*/ 100 h 137"/>
                <a:gd name="T68" fmla="*/ 60 w 147"/>
                <a:gd name="T69" fmla="*/ 89 h 137"/>
                <a:gd name="T70" fmla="*/ 73 w 147"/>
                <a:gd name="T71" fmla="*/ 76 h 137"/>
                <a:gd name="T72" fmla="*/ 73 w 147"/>
                <a:gd name="T73" fmla="*/ 59 h 137"/>
                <a:gd name="T74" fmla="*/ 32 w 147"/>
                <a:gd name="T75" fmla="*/ 59 h 137"/>
                <a:gd name="T76" fmla="*/ 32 w 147"/>
                <a:gd name="T77" fmla="*/ 59 h 137"/>
                <a:gd name="T78" fmla="*/ 32 w 147"/>
                <a:gd name="T79" fmla="*/ 22 h 137"/>
                <a:gd name="T80" fmla="*/ 37 w 147"/>
                <a:gd name="T81" fmla="*/ 18 h 137"/>
                <a:gd name="T82" fmla="*/ 73 w 147"/>
                <a:gd name="T83" fmla="*/ 18 h 137"/>
                <a:gd name="T84" fmla="*/ 73 w 147"/>
                <a:gd name="T8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7" h="137">
                  <a:moveTo>
                    <a:pt x="132" y="22"/>
                  </a:moveTo>
                  <a:cubicBezTo>
                    <a:pt x="132" y="10"/>
                    <a:pt x="122" y="0"/>
                    <a:pt x="110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3" y="18"/>
                    <a:pt x="115" y="20"/>
                    <a:pt x="115" y="22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81" y="76"/>
                    <a:pt x="87" y="82"/>
                    <a:pt x="87" y="89"/>
                  </a:cubicBezTo>
                  <a:cubicBezTo>
                    <a:pt x="87" y="94"/>
                    <a:pt x="84" y="98"/>
                    <a:pt x="81" y="100"/>
                  </a:cubicBezTo>
                  <a:cubicBezTo>
                    <a:pt x="80" y="101"/>
                    <a:pt x="80" y="101"/>
                    <a:pt x="79" y="101"/>
                  </a:cubicBezTo>
                  <a:cubicBezTo>
                    <a:pt x="79" y="118"/>
                    <a:pt x="79" y="118"/>
                    <a:pt x="79" y="118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32" y="59"/>
                    <a:pt x="132" y="59"/>
                    <a:pt x="132" y="59"/>
                  </a:cubicBezTo>
                  <a:lnTo>
                    <a:pt x="132" y="22"/>
                  </a:lnTo>
                  <a:close/>
                  <a:moveTo>
                    <a:pt x="73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24" y="0"/>
                    <a:pt x="15" y="10"/>
                    <a:pt x="15" y="22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18"/>
                    <a:pt x="67" y="118"/>
                    <a:pt x="67" y="118"/>
                  </a:cubicBezTo>
                  <a:cubicBezTo>
                    <a:pt x="67" y="101"/>
                    <a:pt x="67" y="101"/>
                    <a:pt x="67" y="101"/>
                  </a:cubicBezTo>
                  <a:cubicBezTo>
                    <a:pt x="67" y="101"/>
                    <a:pt x="66" y="101"/>
                    <a:pt x="66" y="100"/>
                  </a:cubicBezTo>
                  <a:cubicBezTo>
                    <a:pt x="62" y="98"/>
                    <a:pt x="60" y="94"/>
                    <a:pt x="60" y="89"/>
                  </a:cubicBezTo>
                  <a:cubicBezTo>
                    <a:pt x="60" y="82"/>
                    <a:pt x="66" y="76"/>
                    <a:pt x="73" y="76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0"/>
                    <a:pt x="34" y="18"/>
                    <a:pt x="37" y="18"/>
                  </a:cubicBezTo>
                  <a:cubicBezTo>
                    <a:pt x="73" y="18"/>
                    <a:pt x="73" y="18"/>
                    <a:pt x="73" y="18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1" name="任意多边形: 形状 1510"/>
            <p:cNvSpPr/>
            <p:nvPr>
              <p:custDataLst>
                <p:tags r:id="rId103"/>
              </p:custDataLst>
            </p:nvPr>
          </p:nvSpPr>
          <p:spPr bwMode="auto">
            <a:xfrm flipH="1">
              <a:off x="2543697" y="1099119"/>
              <a:ext cx="338270" cy="268213"/>
            </a:xfrm>
            <a:custGeom>
              <a:avLst/>
              <a:gdLst>
                <a:gd name="T0" fmla="*/ 105 w 157"/>
                <a:gd name="T1" fmla="*/ 0 h 132"/>
                <a:gd name="T2" fmla="*/ 56 w 157"/>
                <a:gd name="T3" fmla="*/ 0 h 132"/>
                <a:gd name="T4" fmla="*/ 0 w 157"/>
                <a:gd name="T5" fmla="*/ 47 h 132"/>
                <a:gd name="T6" fmla="*/ 15 w 157"/>
                <a:gd name="T7" fmla="*/ 69 h 132"/>
                <a:gd name="T8" fmla="*/ 35 w 157"/>
                <a:gd name="T9" fmla="*/ 49 h 132"/>
                <a:gd name="T10" fmla="*/ 35 w 157"/>
                <a:gd name="T11" fmla="*/ 132 h 132"/>
                <a:gd name="T12" fmla="*/ 79 w 157"/>
                <a:gd name="T13" fmla="*/ 132 h 132"/>
                <a:gd name="T14" fmla="*/ 122 w 157"/>
                <a:gd name="T15" fmla="*/ 132 h 132"/>
                <a:gd name="T16" fmla="*/ 122 w 157"/>
                <a:gd name="T17" fmla="*/ 49 h 132"/>
                <a:gd name="T18" fmla="*/ 142 w 157"/>
                <a:gd name="T19" fmla="*/ 69 h 132"/>
                <a:gd name="T20" fmla="*/ 157 w 157"/>
                <a:gd name="T21" fmla="*/ 47 h 132"/>
                <a:gd name="T22" fmla="*/ 105 w 157"/>
                <a:gd name="T23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32">
                  <a:moveTo>
                    <a:pt x="105" y="0"/>
                  </a:moveTo>
                  <a:cubicBezTo>
                    <a:pt x="97" y="14"/>
                    <a:pt x="64" y="14"/>
                    <a:pt x="56" y="0"/>
                  </a:cubicBezTo>
                  <a:cubicBezTo>
                    <a:pt x="56" y="0"/>
                    <a:pt x="8" y="27"/>
                    <a:pt x="0" y="47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29" y="54"/>
                    <a:pt x="35" y="49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79" y="132"/>
                    <a:pt x="79" y="132"/>
                    <a:pt x="79" y="132"/>
                  </a:cubicBezTo>
                  <a:cubicBezTo>
                    <a:pt x="122" y="132"/>
                    <a:pt x="122" y="132"/>
                    <a:pt x="122" y="132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8" y="54"/>
                    <a:pt x="142" y="69"/>
                    <a:pt x="142" y="69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49" y="27"/>
                    <a:pt x="105" y="0"/>
                    <a:pt x="105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2" name="任意多边形: 形状 1511"/>
            <p:cNvSpPr/>
            <p:nvPr>
              <p:custDataLst>
                <p:tags r:id="rId104"/>
              </p:custDataLst>
            </p:nvPr>
          </p:nvSpPr>
          <p:spPr bwMode="auto">
            <a:xfrm flipH="1">
              <a:off x="2662229" y="1087085"/>
              <a:ext cx="94825" cy="26650"/>
            </a:xfrm>
            <a:custGeom>
              <a:avLst/>
              <a:gdLst>
                <a:gd name="T0" fmla="*/ 22 w 44"/>
                <a:gd name="T1" fmla="*/ 13 h 13"/>
                <a:gd name="T2" fmla="*/ 44 w 44"/>
                <a:gd name="T3" fmla="*/ 4 h 13"/>
                <a:gd name="T4" fmla="*/ 43 w 44"/>
                <a:gd name="T5" fmla="*/ 1 h 13"/>
                <a:gd name="T6" fmla="*/ 40 w 44"/>
                <a:gd name="T7" fmla="*/ 2 h 13"/>
                <a:gd name="T8" fmla="*/ 22 w 44"/>
                <a:gd name="T9" fmla="*/ 8 h 13"/>
                <a:gd name="T10" fmla="*/ 5 w 44"/>
                <a:gd name="T11" fmla="*/ 2 h 13"/>
                <a:gd name="T12" fmla="*/ 2 w 44"/>
                <a:gd name="T13" fmla="*/ 1 h 13"/>
                <a:gd name="T14" fmla="*/ 1 w 44"/>
                <a:gd name="T15" fmla="*/ 4 h 13"/>
                <a:gd name="T16" fmla="*/ 22 w 44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3">
                  <a:moveTo>
                    <a:pt x="22" y="13"/>
                  </a:moveTo>
                  <a:cubicBezTo>
                    <a:pt x="32" y="13"/>
                    <a:pt x="41" y="9"/>
                    <a:pt x="44" y="4"/>
                  </a:cubicBezTo>
                  <a:cubicBezTo>
                    <a:pt x="44" y="3"/>
                    <a:pt x="44" y="1"/>
                    <a:pt x="43" y="1"/>
                  </a:cubicBezTo>
                  <a:cubicBezTo>
                    <a:pt x="42" y="0"/>
                    <a:pt x="40" y="0"/>
                    <a:pt x="40" y="2"/>
                  </a:cubicBezTo>
                  <a:cubicBezTo>
                    <a:pt x="38" y="5"/>
                    <a:pt x="31" y="8"/>
                    <a:pt x="22" y="8"/>
                  </a:cubicBezTo>
                  <a:cubicBezTo>
                    <a:pt x="13" y="8"/>
                    <a:pt x="7" y="5"/>
                    <a:pt x="5" y="2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4" y="9"/>
                    <a:pt x="12" y="13"/>
                    <a:pt x="22" y="13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3" name="任意多边形: 形状 1512"/>
            <p:cNvSpPr/>
            <p:nvPr>
              <p:custDataLst>
                <p:tags r:id="rId105"/>
              </p:custDataLst>
            </p:nvPr>
          </p:nvSpPr>
          <p:spPr bwMode="auto">
            <a:xfrm flipH="1">
              <a:off x="2955823" y="4305645"/>
              <a:ext cx="107590" cy="114335"/>
            </a:xfrm>
            <a:custGeom>
              <a:avLst/>
              <a:gdLst>
                <a:gd name="T0" fmla="*/ 32 w 50"/>
                <a:gd name="T1" fmla="*/ 0 h 56"/>
                <a:gd name="T2" fmla="*/ 13 w 50"/>
                <a:gd name="T3" fmla="*/ 15 h 56"/>
                <a:gd name="T4" fmla="*/ 6 w 50"/>
                <a:gd name="T5" fmla="*/ 17 h 56"/>
                <a:gd name="T6" fmla="*/ 6 w 50"/>
                <a:gd name="T7" fmla="*/ 17 h 56"/>
                <a:gd name="T8" fmla="*/ 13 w 50"/>
                <a:gd name="T9" fmla="*/ 51 h 56"/>
                <a:gd name="T10" fmla="*/ 44 w 50"/>
                <a:gd name="T11" fmla="*/ 35 h 56"/>
                <a:gd name="T12" fmla="*/ 37 w 50"/>
                <a:gd name="T13" fmla="*/ 2 h 56"/>
                <a:gd name="T14" fmla="*/ 32 w 50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6">
                  <a:moveTo>
                    <a:pt x="32" y="0"/>
                  </a:moveTo>
                  <a:cubicBezTo>
                    <a:pt x="28" y="7"/>
                    <a:pt x="21" y="12"/>
                    <a:pt x="13" y="15"/>
                  </a:cubicBezTo>
                  <a:cubicBezTo>
                    <a:pt x="11" y="16"/>
                    <a:pt x="9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0" y="31"/>
                    <a:pt x="3" y="46"/>
                    <a:pt x="13" y="51"/>
                  </a:cubicBezTo>
                  <a:cubicBezTo>
                    <a:pt x="24" y="56"/>
                    <a:pt x="38" y="49"/>
                    <a:pt x="44" y="35"/>
                  </a:cubicBezTo>
                  <a:cubicBezTo>
                    <a:pt x="50" y="21"/>
                    <a:pt x="47" y="6"/>
                    <a:pt x="37" y="2"/>
                  </a:cubicBezTo>
                  <a:cubicBezTo>
                    <a:pt x="35" y="1"/>
                    <a:pt x="34" y="0"/>
                    <a:pt x="32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4" name="任意多边形: 形状 1513"/>
            <p:cNvSpPr/>
            <p:nvPr>
              <p:custDataLst>
                <p:tags r:id="rId106"/>
              </p:custDataLst>
            </p:nvPr>
          </p:nvSpPr>
          <p:spPr bwMode="auto">
            <a:xfrm flipH="1">
              <a:off x="2981351" y="4171538"/>
              <a:ext cx="217915" cy="162476"/>
            </a:xfrm>
            <a:custGeom>
              <a:avLst/>
              <a:gdLst>
                <a:gd name="T0" fmla="*/ 35 w 101"/>
                <a:gd name="T1" fmla="*/ 73 h 80"/>
                <a:gd name="T2" fmla="*/ 73 w 101"/>
                <a:gd name="T3" fmla="*/ 76 h 80"/>
                <a:gd name="T4" fmla="*/ 75 w 101"/>
                <a:gd name="T5" fmla="*/ 76 h 80"/>
                <a:gd name="T6" fmla="*/ 89 w 101"/>
                <a:gd name="T7" fmla="*/ 66 h 80"/>
                <a:gd name="T8" fmla="*/ 93 w 101"/>
                <a:gd name="T9" fmla="*/ 60 h 80"/>
                <a:gd name="T10" fmla="*/ 66 w 101"/>
                <a:gd name="T11" fmla="*/ 7 h 80"/>
                <a:gd name="T12" fmla="*/ 26 w 101"/>
                <a:gd name="T13" fmla="*/ 4 h 80"/>
                <a:gd name="T14" fmla="*/ 8 w 101"/>
                <a:gd name="T15" fmla="*/ 20 h 80"/>
                <a:gd name="T16" fmla="*/ 35 w 101"/>
                <a:gd name="T17" fmla="*/ 7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80">
                  <a:moveTo>
                    <a:pt x="35" y="73"/>
                  </a:moveTo>
                  <a:cubicBezTo>
                    <a:pt x="48" y="79"/>
                    <a:pt x="62" y="80"/>
                    <a:pt x="73" y="76"/>
                  </a:cubicBezTo>
                  <a:cubicBezTo>
                    <a:pt x="74" y="76"/>
                    <a:pt x="74" y="76"/>
                    <a:pt x="75" y="76"/>
                  </a:cubicBezTo>
                  <a:cubicBezTo>
                    <a:pt x="80" y="74"/>
                    <a:pt x="85" y="71"/>
                    <a:pt x="89" y="66"/>
                  </a:cubicBezTo>
                  <a:cubicBezTo>
                    <a:pt x="91" y="64"/>
                    <a:pt x="92" y="62"/>
                    <a:pt x="93" y="60"/>
                  </a:cubicBezTo>
                  <a:cubicBezTo>
                    <a:pt x="101" y="42"/>
                    <a:pt x="89" y="18"/>
                    <a:pt x="66" y="7"/>
                  </a:cubicBezTo>
                  <a:cubicBezTo>
                    <a:pt x="52" y="1"/>
                    <a:pt x="38" y="0"/>
                    <a:pt x="26" y="4"/>
                  </a:cubicBezTo>
                  <a:cubicBezTo>
                    <a:pt x="18" y="7"/>
                    <a:pt x="12" y="13"/>
                    <a:pt x="8" y="20"/>
                  </a:cubicBezTo>
                  <a:cubicBezTo>
                    <a:pt x="0" y="38"/>
                    <a:pt x="12" y="62"/>
                    <a:pt x="35" y="7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5" name="任意多边形: 形状 1514"/>
            <p:cNvSpPr/>
            <p:nvPr>
              <p:custDataLst>
                <p:tags r:id="rId107"/>
              </p:custDataLst>
            </p:nvPr>
          </p:nvSpPr>
          <p:spPr bwMode="auto">
            <a:xfrm flipH="1">
              <a:off x="2802642" y="4271258"/>
              <a:ext cx="126738" cy="89403"/>
            </a:xfrm>
            <a:custGeom>
              <a:avLst/>
              <a:gdLst>
                <a:gd name="T0" fmla="*/ 54 w 59"/>
                <a:gd name="T1" fmla="*/ 31 h 44"/>
                <a:gd name="T2" fmla="*/ 38 w 59"/>
                <a:gd name="T3" fmla="*/ 0 h 44"/>
                <a:gd name="T4" fmla="*/ 38 w 59"/>
                <a:gd name="T5" fmla="*/ 0 h 44"/>
                <a:gd name="T6" fmla="*/ 31 w 59"/>
                <a:gd name="T7" fmla="*/ 3 h 44"/>
                <a:gd name="T8" fmla="*/ 7 w 59"/>
                <a:gd name="T9" fmla="*/ 4 h 44"/>
                <a:gd name="T10" fmla="*/ 5 w 59"/>
                <a:gd name="T11" fmla="*/ 8 h 44"/>
                <a:gd name="T12" fmla="*/ 21 w 59"/>
                <a:gd name="T13" fmla="*/ 38 h 44"/>
                <a:gd name="T14" fmla="*/ 54 w 59"/>
                <a:gd name="T15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44">
                  <a:moveTo>
                    <a:pt x="54" y="31"/>
                  </a:moveTo>
                  <a:cubicBezTo>
                    <a:pt x="59" y="20"/>
                    <a:pt x="52" y="7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6" y="1"/>
                    <a:pt x="33" y="2"/>
                    <a:pt x="31" y="3"/>
                  </a:cubicBezTo>
                  <a:cubicBezTo>
                    <a:pt x="23" y="6"/>
                    <a:pt x="15" y="6"/>
                    <a:pt x="7" y="4"/>
                  </a:cubicBezTo>
                  <a:cubicBezTo>
                    <a:pt x="6" y="5"/>
                    <a:pt x="6" y="6"/>
                    <a:pt x="5" y="8"/>
                  </a:cubicBezTo>
                  <a:cubicBezTo>
                    <a:pt x="0" y="18"/>
                    <a:pt x="7" y="32"/>
                    <a:pt x="21" y="38"/>
                  </a:cubicBezTo>
                  <a:cubicBezTo>
                    <a:pt x="34" y="44"/>
                    <a:pt x="49" y="41"/>
                    <a:pt x="54" y="3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6" name="任意多边形: 形状 1515"/>
            <p:cNvSpPr/>
            <p:nvPr>
              <p:custDataLst>
                <p:tags r:id="rId108"/>
              </p:custDataLst>
            </p:nvPr>
          </p:nvSpPr>
          <p:spPr bwMode="auto">
            <a:xfrm flipH="1">
              <a:off x="2780759" y="4086431"/>
              <a:ext cx="189649" cy="186546"/>
            </a:xfrm>
            <a:custGeom>
              <a:avLst/>
              <a:gdLst>
                <a:gd name="T0" fmla="*/ 64 w 88"/>
                <a:gd name="T1" fmla="*/ 4 h 92"/>
                <a:gd name="T2" fmla="*/ 40 w 88"/>
                <a:gd name="T3" fmla="*/ 3 h 92"/>
                <a:gd name="T4" fmla="*/ 11 w 88"/>
                <a:gd name="T5" fmla="*/ 31 h 92"/>
                <a:gd name="T6" fmla="*/ 24 w 88"/>
                <a:gd name="T7" fmla="*/ 89 h 92"/>
                <a:gd name="T8" fmla="*/ 31 w 88"/>
                <a:gd name="T9" fmla="*/ 91 h 92"/>
                <a:gd name="T10" fmla="*/ 48 w 88"/>
                <a:gd name="T11" fmla="*/ 89 h 92"/>
                <a:gd name="T12" fmla="*/ 50 w 88"/>
                <a:gd name="T13" fmla="*/ 89 h 92"/>
                <a:gd name="T14" fmla="*/ 77 w 88"/>
                <a:gd name="T15" fmla="*/ 62 h 92"/>
                <a:gd name="T16" fmla="*/ 64 w 88"/>
                <a:gd name="T17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92">
                  <a:moveTo>
                    <a:pt x="64" y="4"/>
                  </a:moveTo>
                  <a:cubicBezTo>
                    <a:pt x="57" y="0"/>
                    <a:pt x="48" y="0"/>
                    <a:pt x="40" y="3"/>
                  </a:cubicBezTo>
                  <a:cubicBezTo>
                    <a:pt x="29" y="7"/>
                    <a:pt x="18" y="17"/>
                    <a:pt x="11" y="31"/>
                  </a:cubicBezTo>
                  <a:cubicBezTo>
                    <a:pt x="0" y="54"/>
                    <a:pt x="6" y="80"/>
                    <a:pt x="24" y="89"/>
                  </a:cubicBezTo>
                  <a:cubicBezTo>
                    <a:pt x="27" y="90"/>
                    <a:pt x="29" y="90"/>
                    <a:pt x="31" y="91"/>
                  </a:cubicBezTo>
                  <a:cubicBezTo>
                    <a:pt x="37" y="92"/>
                    <a:pt x="43" y="91"/>
                    <a:pt x="48" y="89"/>
                  </a:cubicBezTo>
                  <a:cubicBezTo>
                    <a:pt x="49" y="89"/>
                    <a:pt x="49" y="89"/>
                    <a:pt x="50" y="89"/>
                  </a:cubicBezTo>
                  <a:cubicBezTo>
                    <a:pt x="61" y="84"/>
                    <a:pt x="71" y="75"/>
                    <a:pt x="77" y="62"/>
                  </a:cubicBezTo>
                  <a:cubicBezTo>
                    <a:pt x="88" y="38"/>
                    <a:pt x="82" y="12"/>
                    <a:pt x="64" y="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7" name="任意多边形: 形状 1516"/>
            <p:cNvSpPr/>
            <p:nvPr>
              <p:custDataLst>
                <p:tags r:id="rId109"/>
              </p:custDataLst>
            </p:nvPr>
          </p:nvSpPr>
          <p:spPr bwMode="auto">
            <a:xfrm flipH="1">
              <a:off x="2910233" y="4138871"/>
              <a:ext cx="129472" cy="238126"/>
            </a:xfrm>
            <a:custGeom>
              <a:avLst/>
              <a:gdLst>
                <a:gd name="T0" fmla="*/ 30 w 60"/>
                <a:gd name="T1" fmla="*/ 6 h 117"/>
                <a:gd name="T2" fmla="*/ 25 w 60"/>
                <a:gd name="T3" fmla="*/ 3 h 117"/>
                <a:gd name="T4" fmla="*/ 21 w 60"/>
                <a:gd name="T5" fmla="*/ 17 h 117"/>
                <a:gd name="T6" fmla="*/ 19 w 60"/>
                <a:gd name="T7" fmla="*/ 17 h 117"/>
                <a:gd name="T8" fmla="*/ 17 w 60"/>
                <a:gd name="T9" fmla="*/ 18 h 117"/>
                <a:gd name="T10" fmla="*/ 5 w 60"/>
                <a:gd name="T11" fmla="*/ 11 h 117"/>
                <a:gd name="T12" fmla="*/ 3 w 60"/>
                <a:gd name="T13" fmla="*/ 15 h 117"/>
                <a:gd name="T14" fmla="*/ 14 w 60"/>
                <a:gd name="T15" fmla="*/ 23 h 117"/>
                <a:gd name="T16" fmla="*/ 15 w 60"/>
                <a:gd name="T17" fmla="*/ 26 h 117"/>
                <a:gd name="T18" fmla="*/ 20 w 60"/>
                <a:gd name="T19" fmla="*/ 41 h 117"/>
                <a:gd name="T20" fmla="*/ 26 w 60"/>
                <a:gd name="T21" fmla="*/ 59 h 117"/>
                <a:gd name="T22" fmla="*/ 45 w 60"/>
                <a:gd name="T23" fmla="*/ 112 h 117"/>
                <a:gd name="T24" fmla="*/ 54 w 60"/>
                <a:gd name="T25" fmla="*/ 116 h 117"/>
                <a:gd name="T26" fmla="*/ 59 w 60"/>
                <a:gd name="T27" fmla="*/ 107 h 117"/>
                <a:gd name="T28" fmla="*/ 40 w 60"/>
                <a:gd name="T29" fmla="*/ 55 h 117"/>
                <a:gd name="T30" fmla="*/ 33 w 60"/>
                <a:gd name="T31" fmla="*/ 37 h 117"/>
                <a:gd name="T32" fmla="*/ 28 w 60"/>
                <a:gd name="T33" fmla="*/ 21 h 117"/>
                <a:gd name="T34" fmla="*/ 26 w 60"/>
                <a:gd name="T35" fmla="*/ 19 h 117"/>
                <a:gd name="T36" fmla="*/ 30 w 60"/>
                <a:gd name="T37" fmla="*/ 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17">
                  <a:moveTo>
                    <a:pt x="30" y="6"/>
                  </a:moveTo>
                  <a:cubicBezTo>
                    <a:pt x="31" y="3"/>
                    <a:pt x="27" y="0"/>
                    <a:pt x="25" y="3"/>
                  </a:cubicBezTo>
                  <a:cubicBezTo>
                    <a:pt x="23" y="8"/>
                    <a:pt x="22" y="12"/>
                    <a:pt x="21" y="17"/>
                  </a:cubicBezTo>
                  <a:cubicBezTo>
                    <a:pt x="20" y="17"/>
                    <a:pt x="20" y="17"/>
                    <a:pt x="19" y="17"/>
                  </a:cubicBezTo>
                  <a:cubicBezTo>
                    <a:pt x="18" y="17"/>
                    <a:pt x="17" y="18"/>
                    <a:pt x="17" y="18"/>
                  </a:cubicBezTo>
                  <a:cubicBezTo>
                    <a:pt x="13" y="15"/>
                    <a:pt x="10" y="12"/>
                    <a:pt x="5" y="11"/>
                  </a:cubicBezTo>
                  <a:cubicBezTo>
                    <a:pt x="2" y="9"/>
                    <a:pt x="0" y="14"/>
                    <a:pt x="3" y="15"/>
                  </a:cubicBezTo>
                  <a:cubicBezTo>
                    <a:pt x="7" y="17"/>
                    <a:pt x="11" y="20"/>
                    <a:pt x="14" y="23"/>
                  </a:cubicBezTo>
                  <a:cubicBezTo>
                    <a:pt x="14" y="24"/>
                    <a:pt x="14" y="25"/>
                    <a:pt x="15" y="26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7" y="116"/>
                    <a:pt x="51" y="117"/>
                    <a:pt x="54" y="116"/>
                  </a:cubicBezTo>
                  <a:cubicBezTo>
                    <a:pt x="58" y="115"/>
                    <a:pt x="60" y="111"/>
                    <a:pt x="59" y="107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0"/>
                    <a:pt x="27" y="19"/>
                    <a:pt x="26" y="19"/>
                  </a:cubicBezTo>
                  <a:cubicBezTo>
                    <a:pt x="26" y="14"/>
                    <a:pt x="28" y="10"/>
                    <a:pt x="30" y="6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8" name="任意多边形: 形状 1517"/>
            <p:cNvSpPr/>
            <p:nvPr>
              <p:custDataLst>
                <p:tags r:id="rId110"/>
              </p:custDataLst>
            </p:nvPr>
          </p:nvSpPr>
          <p:spPr bwMode="auto">
            <a:xfrm flipH="1">
              <a:off x="4440198" y="3982413"/>
              <a:ext cx="118531" cy="166774"/>
            </a:xfrm>
            <a:custGeom>
              <a:avLst/>
              <a:gdLst>
                <a:gd name="T0" fmla="*/ 130 w 130"/>
                <a:gd name="T1" fmla="*/ 35 h 194"/>
                <a:gd name="T2" fmla="*/ 99 w 130"/>
                <a:gd name="T3" fmla="*/ 35 h 194"/>
                <a:gd name="T4" fmla="*/ 116 w 130"/>
                <a:gd name="T5" fmla="*/ 0 h 194"/>
                <a:gd name="T6" fmla="*/ 73 w 130"/>
                <a:gd name="T7" fmla="*/ 0 h 194"/>
                <a:gd name="T8" fmla="*/ 68 w 130"/>
                <a:gd name="T9" fmla="*/ 0 h 194"/>
                <a:gd name="T10" fmla="*/ 49 w 130"/>
                <a:gd name="T11" fmla="*/ 0 h 194"/>
                <a:gd name="T12" fmla="*/ 9 w 130"/>
                <a:gd name="T13" fmla="*/ 83 h 194"/>
                <a:gd name="T14" fmla="*/ 45 w 130"/>
                <a:gd name="T15" fmla="*/ 83 h 194"/>
                <a:gd name="T16" fmla="*/ 0 w 130"/>
                <a:gd name="T17" fmla="*/ 194 h 194"/>
                <a:gd name="T18" fmla="*/ 130 w 130"/>
                <a:gd name="T19" fmla="*/ 3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94">
                  <a:moveTo>
                    <a:pt x="130" y="35"/>
                  </a:moveTo>
                  <a:lnTo>
                    <a:pt x="99" y="35"/>
                  </a:lnTo>
                  <a:lnTo>
                    <a:pt x="116" y="0"/>
                  </a:lnTo>
                  <a:lnTo>
                    <a:pt x="73" y="0"/>
                  </a:lnTo>
                  <a:lnTo>
                    <a:pt x="68" y="0"/>
                  </a:lnTo>
                  <a:lnTo>
                    <a:pt x="49" y="0"/>
                  </a:lnTo>
                  <a:lnTo>
                    <a:pt x="9" y="83"/>
                  </a:lnTo>
                  <a:lnTo>
                    <a:pt x="45" y="83"/>
                  </a:lnTo>
                  <a:lnTo>
                    <a:pt x="0" y="194"/>
                  </a:lnTo>
                  <a:lnTo>
                    <a:pt x="130" y="3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19" name="任意多边形: 形状 1518"/>
            <p:cNvSpPr/>
            <p:nvPr>
              <p:custDataLst>
                <p:tags r:id="rId111"/>
              </p:custDataLst>
            </p:nvPr>
          </p:nvSpPr>
          <p:spPr bwMode="auto">
            <a:xfrm flipH="1">
              <a:off x="4302519" y="3785552"/>
              <a:ext cx="323682" cy="186546"/>
            </a:xfrm>
            <a:custGeom>
              <a:avLst/>
              <a:gdLst>
                <a:gd name="T0" fmla="*/ 0 w 150"/>
                <a:gd name="T1" fmla="*/ 76 h 92"/>
                <a:gd name="T2" fmla="*/ 16 w 150"/>
                <a:gd name="T3" fmla="*/ 92 h 92"/>
                <a:gd name="T4" fmla="*/ 54 w 150"/>
                <a:gd name="T5" fmla="*/ 92 h 92"/>
                <a:gd name="T6" fmla="*/ 60 w 150"/>
                <a:gd name="T7" fmla="*/ 92 h 92"/>
                <a:gd name="T8" fmla="*/ 62 w 150"/>
                <a:gd name="T9" fmla="*/ 92 h 92"/>
                <a:gd name="T10" fmla="*/ 83 w 150"/>
                <a:gd name="T11" fmla="*/ 92 h 92"/>
                <a:gd name="T12" fmla="*/ 124 w 150"/>
                <a:gd name="T13" fmla="*/ 92 h 92"/>
                <a:gd name="T14" fmla="*/ 150 w 150"/>
                <a:gd name="T15" fmla="*/ 66 h 92"/>
                <a:gd name="T16" fmla="*/ 124 w 150"/>
                <a:gd name="T17" fmla="*/ 39 h 92"/>
                <a:gd name="T18" fmla="*/ 106 w 150"/>
                <a:gd name="T19" fmla="*/ 45 h 92"/>
                <a:gd name="T20" fmla="*/ 60 w 150"/>
                <a:gd name="T21" fmla="*/ 0 h 92"/>
                <a:gd name="T22" fmla="*/ 14 w 150"/>
                <a:gd name="T23" fmla="*/ 46 h 92"/>
                <a:gd name="T24" fmla="*/ 16 w 150"/>
                <a:gd name="T25" fmla="*/ 60 h 92"/>
                <a:gd name="T26" fmla="*/ 0 w 150"/>
                <a:gd name="T2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92">
                  <a:moveTo>
                    <a:pt x="0" y="76"/>
                  </a:moveTo>
                  <a:cubicBezTo>
                    <a:pt x="0" y="85"/>
                    <a:pt x="7" y="92"/>
                    <a:pt x="16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83" y="92"/>
                    <a:pt x="83" y="92"/>
                    <a:pt x="83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38" y="92"/>
                    <a:pt x="150" y="80"/>
                    <a:pt x="150" y="66"/>
                  </a:cubicBezTo>
                  <a:cubicBezTo>
                    <a:pt x="150" y="51"/>
                    <a:pt x="138" y="39"/>
                    <a:pt x="124" y="39"/>
                  </a:cubicBezTo>
                  <a:cubicBezTo>
                    <a:pt x="117" y="39"/>
                    <a:pt x="111" y="41"/>
                    <a:pt x="106" y="45"/>
                  </a:cubicBezTo>
                  <a:cubicBezTo>
                    <a:pt x="106" y="20"/>
                    <a:pt x="85" y="0"/>
                    <a:pt x="60" y="0"/>
                  </a:cubicBezTo>
                  <a:cubicBezTo>
                    <a:pt x="34" y="0"/>
                    <a:pt x="14" y="21"/>
                    <a:pt x="14" y="46"/>
                  </a:cubicBezTo>
                  <a:cubicBezTo>
                    <a:pt x="14" y="51"/>
                    <a:pt x="14" y="55"/>
                    <a:pt x="16" y="60"/>
                  </a:cubicBezTo>
                  <a:cubicBezTo>
                    <a:pt x="7" y="60"/>
                    <a:pt x="0" y="67"/>
                    <a:pt x="0" y="7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0" name="任意多边形: 形状 1519"/>
            <p:cNvSpPr/>
            <p:nvPr>
              <p:custDataLst>
                <p:tags r:id="rId112"/>
              </p:custDataLst>
            </p:nvPr>
          </p:nvSpPr>
          <p:spPr bwMode="auto">
            <a:xfrm flipH="1">
              <a:off x="2109690" y="3252563"/>
              <a:ext cx="372918" cy="174511"/>
            </a:xfrm>
            <a:custGeom>
              <a:avLst/>
              <a:gdLst>
                <a:gd name="T0" fmla="*/ 149 w 173"/>
                <a:gd name="T1" fmla="*/ 61 h 86"/>
                <a:gd name="T2" fmla="*/ 173 w 173"/>
                <a:gd name="T3" fmla="*/ 31 h 86"/>
                <a:gd name="T4" fmla="*/ 149 w 173"/>
                <a:gd name="T5" fmla="*/ 1 h 86"/>
                <a:gd name="T6" fmla="*/ 149 w 173"/>
                <a:gd name="T7" fmla="*/ 15 h 86"/>
                <a:gd name="T8" fmla="*/ 160 w 173"/>
                <a:gd name="T9" fmla="*/ 31 h 86"/>
                <a:gd name="T10" fmla="*/ 149 w 173"/>
                <a:gd name="T11" fmla="*/ 47 h 86"/>
                <a:gd name="T12" fmla="*/ 149 w 173"/>
                <a:gd name="T13" fmla="*/ 61 h 86"/>
                <a:gd name="T14" fmla="*/ 73 w 173"/>
                <a:gd name="T15" fmla="*/ 86 h 86"/>
                <a:gd name="T16" fmla="*/ 130 w 173"/>
                <a:gd name="T17" fmla="*/ 59 h 86"/>
                <a:gd name="T18" fmla="*/ 143 w 173"/>
                <a:gd name="T19" fmla="*/ 61 h 86"/>
                <a:gd name="T20" fmla="*/ 149 w 173"/>
                <a:gd name="T21" fmla="*/ 61 h 86"/>
                <a:gd name="T22" fmla="*/ 149 w 173"/>
                <a:gd name="T23" fmla="*/ 47 h 86"/>
                <a:gd name="T24" fmla="*/ 143 w 173"/>
                <a:gd name="T25" fmla="*/ 48 h 86"/>
                <a:gd name="T26" fmla="*/ 137 w 173"/>
                <a:gd name="T27" fmla="*/ 47 h 86"/>
                <a:gd name="T28" fmla="*/ 145 w 173"/>
                <a:gd name="T29" fmla="*/ 14 h 86"/>
                <a:gd name="T30" fmla="*/ 145 w 173"/>
                <a:gd name="T31" fmla="*/ 14 h 86"/>
                <a:gd name="T32" fmla="*/ 145 w 173"/>
                <a:gd name="T33" fmla="*/ 14 h 86"/>
                <a:gd name="T34" fmla="*/ 149 w 173"/>
                <a:gd name="T35" fmla="*/ 15 h 86"/>
                <a:gd name="T36" fmla="*/ 149 w 173"/>
                <a:gd name="T37" fmla="*/ 1 h 86"/>
                <a:gd name="T38" fmla="*/ 144 w 173"/>
                <a:gd name="T39" fmla="*/ 0 h 86"/>
                <a:gd name="T40" fmla="*/ 144 w 173"/>
                <a:gd name="T41" fmla="*/ 0 h 86"/>
                <a:gd name="T42" fmla="*/ 2 w 173"/>
                <a:gd name="T43" fmla="*/ 0 h 86"/>
                <a:gd name="T44" fmla="*/ 0 w 173"/>
                <a:gd name="T45" fmla="*/ 14 h 86"/>
                <a:gd name="T46" fmla="*/ 73 w 173"/>
                <a:gd name="T4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3" h="86">
                  <a:moveTo>
                    <a:pt x="149" y="61"/>
                  </a:moveTo>
                  <a:cubicBezTo>
                    <a:pt x="163" y="58"/>
                    <a:pt x="173" y="46"/>
                    <a:pt x="173" y="31"/>
                  </a:cubicBezTo>
                  <a:cubicBezTo>
                    <a:pt x="173" y="16"/>
                    <a:pt x="163" y="4"/>
                    <a:pt x="149" y="1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55" y="17"/>
                    <a:pt x="160" y="23"/>
                    <a:pt x="160" y="31"/>
                  </a:cubicBezTo>
                  <a:cubicBezTo>
                    <a:pt x="160" y="38"/>
                    <a:pt x="155" y="45"/>
                    <a:pt x="149" y="47"/>
                  </a:cubicBezTo>
                  <a:lnTo>
                    <a:pt x="149" y="61"/>
                  </a:lnTo>
                  <a:close/>
                  <a:moveTo>
                    <a:pt x="73" y="86"/>
                  </a:moveTo>
                  <a:cubicBezTo>
                    <a:pt x="96" y="86"/>
                    <a:pt x="117" y="75"/>
                    <a:pt x="130" y="59"/>
                  </a:cubicBezTo>
                  <a:cubicBezTo>
                    <a:pt x="134" y="60"/>
                    <a:pt x="138" y="61"/>
                    <a:pt x="143" y="61"/>
                  </a:cubicBezTo>
                  <a:cubicBezTo>
                    <a:pt x="145" y="61"/>
                    <a:pt x="147" y="61"/>
                    <a:pt x="149" y="61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7" y="48"/>
                    <a:pt x="145" y="48"/>
                    <a:pt x="143" y="48"/>
                  </a:cubicBezTo>
                  <a:cubicBezTo>
                    <a:pt x="141" y="48"/>
                    <a:pt x="139" y="48"/>
                    <a:pt x="137" y="47"/>
                  </a:cubicBezTo>
                  <a:cubicBezTo>
                    <a:pt x="142" y="37"/>
                    <a:pt x="145" y="26"/>
                    <a:pt x="145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6" y="14"/>
                    <a:pt x="148" y="14"/>
                    <a:pt x="149" y="15"/>
                  </a:cubicBezTo>
                  <a:cubicBezTo>
                    <a:pt x="149" y="1"/>
                    <a:pt x="149" y="1"/>
                    <a:pt x="149" y="1"/>
                  </a:cubicBezTo>
                  <a:cubicBezTo>
                    <a:pt x="147" y="1"/>
                    <a:pt x="146" y="0"/>
                    <a:pt x="14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5"/>
                    <a:pt x="0" y="9"/>
                    <a:pt x="0" y="14"/>
                  </a:cubicBezTo>
                  <a:cubicBezTo>
                    <a:pt x="0" y="54"/>
                    <a:pt x="33" y="86"/>
                    <a:pt x="73" y="8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1" name="矩形 1520"/>
            <p:cNvSpPr/>
            <p:nvPr>
              <p:custDataLst>
                <p:tags r:id="rId113"/>
              </p:custDataLst>
            </p:nvPr>
          </p:nvSpPr>
          <p:spPr bwMode="auto">
            <a:xfrm flipH="1">
              <a:off x="2144338" y="3443408"/>
              <a:ext cx="338270" cy="266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2" name="任意多边形: 形状 1521"/>
            <p:cNvSpPr/>
            <p:nvPr>
              <p:custDataLst>
                <p:tags r:id="rId114"/>
              </p:custDataLst>
            </p:nvPr>
          </p:nvSpPr>
          <p:spPr bwMode="auto">
            <a:xfrm flipH="1">
              <a:off x="2344930" y="3097825"/>
              <a:ext cx="60177" cy="144423"/>
            </a:xfrm>
            <a:custGeom>
              <a:avLst/>
              <a:gdLst>
                <a:gd name="T0" fmla="*/ 10 w 28"/>
                <a:gd name="T1" fmla="*/ 54 h 71"/>
                <a:gd name="T2" fmla="*/ 14 w 28"/>
                <a:gd name="T3" fmla="*/ 68 h 71"/>
                <a:gd name="T4" fmla="*/ 26 w 28"/>
                <a:gd name="T5" fmla="*/ 44 h 71"/>
                <a:gd name="T6" fmla="*/ 19 w 28"/>
                <a:gd name="T7" fmla="*/ 29 h 71"/>
                <a:gd name="T8" fmla="*/ 18 w 28"/>
                <a:gd name="T9" fmla="*/ 18 h 71"/>
                <a:gd name="T10" fmla="*/ 11 w 28"/>
                <a:gd name="T11" fmla="*/ 5 h 71"/>
                <a:gd name="T12" fmla="*/ 3 w 28"/>
                <a:gd name="T13" fmla="*/ 30 h 71"/>
                <a:gd name="T14" fmla="*/ 10 w 28"/>
                <a:gd name="T15" fmla="*/ 5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1">
                  <a:moveTo>
                    <a:pt x="10" y="54"/>
                  </a:moveTo>
                  <a:cubicBezTo>
                    <a:pt x="1" y="57"/>
                    <a:pt x="5" y="71"/>
                    <a:pt x="14" y="68"/>
                  </a:cubicBezTo>
                  <a:cubicBezTo>
                    <a:pt x="25" y="65"/>
                    <a:pt x="28" y="54"/>
                    <a:pt x="26" y="44"/>
                  </a:cubicBezTo>
                  <a:cubicBezTo>
                    <a:pt x="24" y="38"/>
                    <a:pt x="21" y="34"/>
                    <a:pt x="19" y="29"/>
                  </a:cubicBezTo>
                  <a:cubicBezTo>
                    <a:pt x="17" y="26"/>
                    <a:pt x="15" y="20"/>
                    <a:pt x="18" y="18"/>
                  </a:cubicBezTo>
                  <a:cubicBezTo>
                    <a:pt x="26" y="13"/>
                    <a:pt x="19" y="0"/>
                    <a:pt x="11" y="5"/>
                  </a:cubicBezTo>
                  <a:cubicBezTo>
                    <a:pt x="2" y="11"/>
                    <a:pt x="0" y="21"/>
                    <a:pt x="3" y="30"/>
                  </a:cubicBezTo>
                  <a:cubicBezTo>
                    <a:pt x="4" y="34"/>
                    <a:pt x="17" y="52"/>
                    <a:pt x="10" y="5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3" name="任意多边形: 形状 1522"/>
            <p:cNvSpPr/>
            <p:nvPr>
              <p:custDataLst>
                <p:tags r:id="rId115"/>
              </p:custDataLst>
            </p:nvPr>
          </p:nvSpPr>
          <p:spPr bwMode="auto">
            <a:xfrm flipH="1">
              <a:off x="2256487" y="3097825"/>
              <a:ext cx="60177" cy="144423"/>
            </a:xfrm>
            <a:custGeom>
              <a:avLst/>
              <a:gdLst>
                <a:gd name="T0" fmla="*/ 10 w 28"/>
                <a:gd name="T1" fmla="*/ 54 h 71"/>
                <a:gd name="T2" fmla="*/ 14 w 28"/>
                <a:gd name="T3" fmla="*/ 68 h 71"/>
                <a:gd name="T4" fmla="*/ 25 w 28"/>
                <a:gd name="T5" fmla="*/ 44 h 71"/>
                <a:gd name="T6" fmla="*/ 18 w 28"/>
                <a:gd name="T7" fmla="*/ 29 h 71"/>
                <a:gd name="T8" fmla="*/ 18 w 28"/>
                <a:gd name="T9" fmla="*/ 18 h 71"/>
                <a:gd name="T10" fmla="*/ 10 w 28"/>
                <a:gd name="T11" fmla="*/ 5 h 71"/>
                <a:gd name="T12" fmla="*/ 3 w 28"/>
                <a:gd name="T13" fmla="*/ 30 h 71"/>
                <a:gd name="T14" fmla="*/ 10 w 28"/>
                <a:gd name="T15" fmla="*/ 5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1">
                  <a:moveTo>
                    <a:pt x="10" y="54"/>
                  </a:moveTo>
                  <a:cubicBezTo>
                    <a:pt x="1" y="57"/>
                    <a:pt x="5" y="71"/>
                    <a:pt x="14" y="68"/>
                  </a:cubicBezTo>
                  <a:cubicBezTo>
                    <a:pt x="24" y="65"/>
                    <a:pt x="28" y="54"/>
                    <a:pt x="25" y="44"/>
                  </a:cubicBezTo>
                  <a:cubicBezTo>
                    <a:pt x="24" y="38"/>
                    <a:pt x="21" y="34"/>
                    <a:pt x="18" y="29"/>
                  </a:cubicBezTo>
                  <a:cubicBezTo>
                    <a:pt x="17" y="26"/>
                    <a:pt x="14" y="20"/>
                    <a:pt x="18" y="18"/>
                  </a:cubicBezTo>
                  <a:cubicBezTo>
                    <a:pt x="26" y="13"/>
                    <a:pt x="19" y="0"/>
                    <a:pt x="10" y="5"/>
                  </a:cubicBezTo>
                  <a:cubicBezTo>
                    <a:pt x="2" y="11"/>
                    <a:pt x="0" y="21"/>
                    <a:pt x="3" y="30"/>
                  </a:cubicBezTo>
                  <a:cubicBezTo>
                    <a:pt x="4" y="34"/>
                    <a:pt x="16" y="52"/>
                    <a:pt x="10" y="5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4" name="任意多边形: 形状 1523"/>
            <p:cNvSpPr/>
            <p:nvPr>
              <p:custDataLst>
                <p:tags r:id="rId116"/>
              </p:custDataLst>
            </p:nvPr>
          </p:nvSpPr>
          <p:spPr bwMode="auto">
            <a:xfrm flipH="1">
              <a:off x="3646038" y="4065800"/>
              <a:ext cx="153179" cy="233827"/>
            </a:xfrm>
            <a:custGeom>
              <a:avLst/>
              <a:gdLst>
                <a:gd name="T0" fmla="*/ 168 w 168"/>
                <a:gd name="T1" fmla="*/ 158 h 272"/>
                <a:gd name="T2" fmla="*/ 168 w 168"/>
                <a:gd name="T3" fmla="*/ 0 h 272"/>
                <a:gd name="T4" fmla="*/ 85 w 168"/>
                <a:gd name="T5" fmla="*/ 0 h 272"/>
                <a:gd name="T6" fmla="*/ 0 w 168"/>
                <a:gd name="T7" fmla="*/ 218 h 272"/>
                <a:gd name="T8" fmla="*/ 123 w 168"/>
                <a:gd name="T9" fmla="*/ 272 h 272"/>
                <a:gd name="T10" fmla="*/ 168 w 168"/>
                <a:gd name="T11" fmla="*/ 15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272">
                  <a:moveTo>
                    <a:pt x="168" y="158"/>
                  </a:moveTo>
                  <a:lnTo>
                    <a:pt x="168" y="0"/>
                  </a:lnTo>
                  <a:lnTo>
                    <a:pt x="85" y="0"/>
                  </a:lnTo>
                  <a:lnTo>
                    <a:pt x="0" y="218"/>
                  </a:lnTo>
                  <a:lnTo>
                    <a:pt x="123" y="272"/>
                  </a:lnTo>
                  <a:lnTo>
                    <a:pt x="168" y="15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5" name="任意多边形: 形状 1524"/>
            <p:cNvSpPr/>
            <p:nvPr>
              <p:custDataLst>
                <p:tags r:id="rId117"/>
              </p:custDataLst>
            </p:nvPr>
          </p:nvSpPr>
          <p:spPr bwMode="auto">
            <a:xfrm flipH="1">
              <a:off x="3609567" y="4065800"/>
              <a:ext cx="28265" cy="73071"/>
            </a:xfrm>
            <a:custGeom>
              <a:avLst/>
              <a:gdLst>
                <a:gd name="T0" fmla="*/ 0 w 13"/>
                <a:gd name="T1" fmla="*/ 36 h 36"/>
                <a:gd name="T2" fmla="*/ 13 w 13"/>
                <a:gd name="T3" fmla="*/ 2 h 36"/>
                <a:gd name="T4" fmla="*/ 13 w 13"/>
                <a:gd name="T5" fmla="*/ 0 h 36"/>
                <a:gd name="T6" fmla="*/ 0 w 13"/>
                <a:gd name="T7" fmla="*/ 0 h 36"/>
                <a:gd name="T8" fmla="*/ 0 w 13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6">
                  <a:moveTo>
                    <a:pt x="0" y="36"/>
                  </a:moveTo>
                  <a:cubicBezTo>
                    <a:pt x="12" y="30"/>
                    <a:pt x="13" y="14"/>
                    <a:pt x="13" y="2"/>
                  </a:cubicBezTo>
                  <a:cubicBezTo>
                    <a:pt x="13" y="1"/>
                    <a:pt x="13" y="1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6" name="任意多边形: 形状 1525"/>
            <p:cNvSpPr/>
            <p:nvPr>
              <p:custDataLst>
                <p:tags r:id="rId118"/>
              </p:custDataLst>
            </p:nvPr>
          </p:nvSpPr>
          <p:spPr bwMode="auto">
            <a:xfrm flipH="1">
              <a:off x="3484654" y="4065800"/>
              <a:ext cx="153179" cy="233827"/>
            </a:xfrm>
            <a:custGeom>
              <a:avLst/>
              <a:gdLst>
                <a:gd name="T0" fmla="*/ 17 w 71"/>
                <a:gd name="T1" fmla="*/ 0 h 115"/>
                <a:gd name="T2" fmla="*/ 17 w 71"/>
                <a:gd name="T3" fmla="*/ 2 h 115"/>
                <a:gd name="T4" fmla="*/ 0 w 71"/>
                <a:gd name="T5" fmla="*/ 41 h 115"/>
                <a:gd name="T6" fmla="*/ 0 w 71"/>
                <a:gd name="T7" fmla="*/ 67 h 115"/>
                <a:gd name="T8" fmla="*/ 20 w 71"/>
                <a:gd name="T9" fmla="*/ 115 h 115"/>
                <a:gd name="T10" fmla="*/ 71 w 71"/>
                <a:gd name="T11" fmla="*/ 92 h 115"/>
                <a:gd name="T12" fmla="*/ 35 w 71"/>
                <a:gd name="T13" fmla="*/ 0 h 115"/>
                <a:gd name="T14" fmla="*/ 17 w 71"/>
                <a:gd name="T1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115">
                  <a:moveTo>
                    <a:pt x="17" y="0"/>
                  </a:moveTo>
                  <a:cubicBezTo>
                    <a:pt x="17" y="1"/>
                    <a:pt x="17" y="1"/>
                    <a:pt x="17" y="2"/>
                  </a:cubicBezTo>
                  <a:cubicBezTo>
                    <a:pt x="17" y="16"/>
                    <a:pt x="15" y="34"/>
                    <a:pt x="0" y="4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7" name="任意多边形: 形状 1526"/>
            <p:cNvSpPr/>
            <p:nvPr>
              <p:custDataLst>
                <p:tags r:id="rId119"/>
              </p:custDataLst>
            </p:nvPr>
          </p:nvSpPr>
          <p:spPr bwMode="auto">
            <a:xfrm flipH="1">
              <a:off x="3562155" y="4039150"/>
              <a:ext cx="159562" cy="20632"/>
            </a:xfrm>
            <a:custGeom>
              <a:avLst/>
              <a:gdLst>
                <a:gd name="T0" fmla="*/ 175 w 175"/>
                <a:gd name="T1" fmla="*/ 0 h 24"/>
                <a:gd name="T2" fmla="*/ 0 w 175"/>
                <a:gd name="T3" fmla="*/ 0 h 24"/>
                <a:gd name="T4" fmla="*/ 0 w 175"/>
                <a:gd name="T5" fmla="*/ 24 h 24"/>
                <a:gd name="T6" fmla="*/ 83 w 175"/>
                <a:gd name="T7" fmla="*/ 24 h 24"/>
                <a:gd name="T8" fmla="*/ 92 w 175"/>
                <a:gd name="T9" fmla="*/ 24 h 24"/>
                <a:gd name="T10" fmla="*/ 175 w 175"/>
                <a:gd name="T11" fmla="*/ 24 h 24"/>
                <a:gd name="T12" fmla="*/ 175 w 175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24">
                  <a:moveTo>
                    <a:pt x="175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83" y="24"/>
                  </a:lnTo>
                  <a:lnTo>
                    <a:pt x="92" y="24"/>
                  </a:lnTo>
                  <a:lnTo>
                    <a:pt x="175" y="24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8" name="任意多边形: 形状 1527"/>
            <p:cNvSpPr/>
            <p:nvPr>
              <p:custDataLst>
                <p:tags r:id="rId120"/>
              </p:custDataLst>
            </p:nvPr>
          </p:nvSpPr>
          <p:spPr bwMode="auto">
            <a:xfrm flipH="1">
              <a:off x="3150943" y="3351423"/>
              <a:ext cx="258945" cy="333547"/>
            </a:xfrm>
            <a:custGeom>
              <a:avLst/>
              <a:gdLst>
                <a:gd name="T0" fmla="*/ 65 w 120"/>
                <a:gd name="T1" fmla="*/ 31 h 164"/>
                <a:gd name="T2" fmla="*/ 65 w 120"/>
                <a:gd name="T3" fmla="*/ 31 h 164"/>
                <a:gd name="T4" fmla="*/ 65 w 120"/>
                <a:gd name="T5" fmla="*/ 131 h 164"/>
                <a:gd name="T6" fmla="*/ 44 w 120"/>
                <a:gd name="T7" fmla="*/ 153 h 164"/>
                <a:gd name="T8" fmla="*/ 15 w 120"/>
                <a:gd name="T9" fmla="*/ 137 h 164"/>
                <a:gd name="T10" fmla="*/ 20 w 120"/>
                <a:gd name="T11" fmla="*/ 137 h 164"/>
                <a:gd name="T12" fmla="*/ 20 w 120"/>
                <a:gd name="T13" fmla="*/ 129 h 164"/>
                <a:gd name="T14" fmla="*/ 0 w 120"/>
                <a:gd name="T15" fmla="*/ 129 h 164"/>
                <a:gd name="T16" fmla="*/ 0 w 120"/>
                <a:gd name="T17" fmla="*/ 137 h 164"/>
                <a:gd name="T18" fmla="*/ 6 w 120"/>
                <a:gd name="T19" fmla="*/ 137 h 164"/>
                <a:gd name="T20" fmla="*/ 41 w 120"/>
                <a:gd name="T21" fmla="*/ 163 h 164"/>
                <a:gd name="T22" fmla="*/ 75 w 120"/>
                <a:gd name="T23" fmla="*/ 129 h 164"/>
                <a:gd name="T24" fmla="*/ 74 w 120"/>
                <a:gd name="T25" fmla="*/ 31 h 164"/>
                <a:gd name="T26" fmla="*/ 92 w 120"/>
                <a:gd name="T27" fmla="*/ 10 h 164"/>
                <a:gd name="T28" fmla="*/ 110 w 120"/>
                <a:gd name="T29" fmla="*/ 32 h 164"/>
                <a:gd name="T30" fmla="*/ 110 w 120"/>
                <a:gd name="T31" fmla="*/ 142 h 164"/>
                <a:gd name="T32" fmla="*/ 120 w 120"/>
                <a:gd name="T33" fmla="*/ 142 h 164"/>
                <a:gd name="T34" fmla="*/ 119 w 120"/>
                <a:gd name="T35" fmla="*/ 30 h 164"/>
                <a:gd name="T36" fmla="*/ 93 w 120"/>
                <a:gd name="T37" fmla="*/ 1 h 164"/>
                <a:gd name="T38" fmla="*/ 65 w 120"/>
                <a:gd name="T39" fmla="*/ 3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164">
                  <a:moveTo>
                    <a:pt x="65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130"/>
                    <a:pt x="65" y="131"/>
                  </a:cubicBezTo>
                  <a:cubicBezTo>
                    <a:pt x="65" y="142"/>
                    <a:pt x="55" y="150"/>
                    <a:pt x="44" y="153"/>
                  </a:cubicBezTo>
                  <a:cubicBezTo>
                    <a:pt x="34" y="156"/>
                    <a:pt x="13" y="151"/>
                    <a:pt x="15" y="137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6" y="137"/>
                    <a:pt x="6" y="137"/>
                    <a:pt x="6" y="137"/>
                  </a:cubicBezTo>
                  <a:cubicBezTo>
                    <a:pt x="5" y="155"/>
                    <a:pt x="25" y="164"/>
                    <a:pt x="41" y="163"/>
                  </a:cubicBezTo>
                  <a:cubicBezTo>
                    <a:pt x="59" y="162"/>
                    <a:pt x="75" y="146"/>
                    <a:pt x="75" y="129"/>
                  </a:cubicBezTo>
                  <a:cubicBezTo>
                    <a:pt x="75" y="127"/>
                    <a:pt x="74" y="32"/>
                    <a:pt x="74" y="31"/>
                  </a:cubicBezTo>
                  <a:cubicBezTo>
                    <a:pt x="74" y="21"/>
                    <a:pt x="80" y="10"/>
                    <a:pt x="92" y="10"/>
                  </a:cubicBezTo>
                  <a:cubicBezTo>
                    <a:pt x="104" y="10"/>
                    <a:pt x="110" y="21"/>
                    <a:pt x="110" y="32"/>
                  </a:cubicBezTo>
                  <a:cubicBezTo>
                    <a:pt x="110" y="33"/>
                    <a:pt x="110" y="142"/>
                    <a:pt x="110" y="142"/>
                  </a:cubicBezTo>
                  <a:cubicBezTo>
                    <a:pt x="110" y="148"/>
                    <a:pt x="120" y="148"/>
                    <a:pt x="120" y="142"/>
                  </a:cubicBezTo>
                  <a:cubicBezTo>
                    <a:pt x="120" y="142"/>
                    <a:pt x="120" y="31"/>
                    <a:pt x="119" y="30"/>
                  </a:cubicBezTo>
                  <a:cubicBezTo>
                    <a:pt x="119" y="15"/>
                    <a:pt x="108" y="2"/>
                    <a:pt x="93" y="1"/>
                  </a:cubicBezTo>
                  <a:cubicBezTo>
                    <a:pt x="76" y="0"/>
                    <a:pt x="65" y="15"/>
                    <a:pt x="65" y="3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29" name="任意多边形: 形状 1528"/>
            <p:cNvSpPr/>
            <p:nvPr>
              <p:custDataLst>
                <p:tags r:id="rId121"/>
              </p:custDataLst>
            </p:nvPr>
          </p:nvSpPr>
          <p:spPr bwMode="auto">
            <a:xfrm flipH="1">
              <a:off x="3334210" y="3431371"/>
              <a:ext cx="107590" cy="172792"/>
            </a:xfrm>
            <a:custGeom>
              <a:avLst/>
              <a:gdLst>
                <a:gd name="T0" fmla="*/ 15 w 50"/>
                <a:gd name="T1" fmla="*/ 85 h 85"/>
                <a:gd name="T2" fmla="*/ 35 w 50"/>
                <a:gd name="T3" fmla="*/ 85 h 85"/>
                <a:gd name="T4" fmla="*/ 41 w 50"/>
                <a:gd name="T5" fmla="*/ 85 h 85"/>
                <a:gd name="T6" fmla="*/ 50 w 50"/>
                <a:gd name="T7" fmla="*/ 0 h 85"/>
                <a:gd name="T8" fmla="*/ 25 w 50"/>
                <a:gd name="T9" fmla="*/ 7 h 85"/>
                <a:gd name="T10" fmla="*/ 0 w 50"/>
                <a:gd name="T11" fmla="*/ 0 h 85"/>
                <a:gd name="T12" fmla="*/ 8 w 50"/>
                <a:gd name="T13" fmla="*/ 85 h 85"/>
                <a:gd name="T14" fmla="*/ 15 w 50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85">
                  <a:moveTo>
                    <a:pt x="15" y="85"/>
                  </a:moveTo>
                  <a:cubicBezTo>
                    <a:pt x="35" y="85"/>
                    <a:pt x="35" y="85"/>
                    <a:pt x="35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3" y="4"/>
                    <a:pt x="34" y="7"/>
                    <a:pt x="25" y="7"/>
                  </a:cubicBezTo>
                  <a:cubicBezTo>
                    <a:pt x="16" y="7"/>
                    <a:pt x="7" y="4"/>
                    <a:pt x="0" y="0"/>
                  </a:cubicBezTo>
                  <a:cubicBezTo>
                    <a:pt x="8" y="85"/>
                    <a:pt x="8" y="85"/>
                    <a:pt x="8" y="85"/>
                  </a:cubicBezTo>
                  <a:lnTo>
                    <a:pt x="15" y="85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0" name="任意多边形: 形状 1529"/>
            <p:cNvSpPr/>
            <p:nvPr>
              <p:custDataLst>
                <p:tags r:id="rId122"/>
              </p:custDataLst>
            </p:nvPr>
          </p:nvSpPr>
          <p:spPr bwMode="auto">
            <a:xfrm flipH="1">
              <a:off x="3321445" y="3321335"/>
              <a:ext cx="135855" cy="113474"/>
            </a:xfrm>
            <a:custGeom>
              <a:avLst/>
              <a:gdLst>
                <a:gd name="T0" fmla="*/ 0 w 63"/>
                <a:gd name="T1" fmla="*/ 32 h 56"/>
                <a:gd name="T2" fmla="*/ 3 w 63"/>
                <a:gd name="T3" fmla="*/ 44 h 56"/>
                <a:gd name="T4" fmla="*/ 5 w 63"/>
                <a:gd name="T5" fmla="*/ 46 h 56"/>
                <a:gd name="T6" fmla="*/ 7 w 63"/>
                <a:gd name="T7" fmla="*/ 48 h 56"/>
                <a:gd name="T8" fmla="*/ 7 w 63"/>
                <a:gd name="T9" fmla="*/ 48 h 56"/>
                <a:gd name="T10" fmla="*/ 7 w 63"/>
                <a:gd name="T11" fmla="*/ 49 h 56"/>
                <a:gd name="T12" fmla="*/ 31 w 63"/>
                <a:gd name="T13" fmla="*/ 56 h 56"/>
                <a:gd name="T14" fmla="*/ 32 w 63"/>
                <a:gd name="T15" fmla="*/ 56 h 56"/>
                <a:gd name="T16" fmla="*/ 32 w 63"/>
                <a:gd name="T17" fmla="*/ 56 h 56"/>
                <a:gd name="T18" fmla="*/ 56 w 63"/>
                <a:gd name="T19" fmla="*/ 49 h 56"/>
                <a:gd name="T20" fmla="*/ 57 w 63"/>
                <a:gd name="T21" fmla="*/ 48 h 56"/>
                <a:gd name="T22" fmla="*/ 57 w 63"/>
                <a:gd name="T23" fmla="*/ 48 h 56"/>
                <a:gd name="T24" fmla="*/ 59 w 63"/>
                <a:gd name="T25" fmla="*/ 46 h 56"/>
                <a:gd name="T26" fmla="*/ 60 w 63"/>
                <a:gd name="T27" fmla="*/ 44 h 56"/>
                <a:gd name="T28" fmla="*/ 63 w 63"/>
                <a:gd name="T29" fmla="*/ 32 h 56"/>
                <a:gd name="T30" fmla="*/ 32 w 63"/>
                <a:gd name="T31" fmla="*/ 0 h 56"/>
                <a:gd name="T32" fmla="*/ 0 w 63"/>
                <a:gd name="T33" fmla="*/ 3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56">
                  <a:moveTo>
                    <a:pt x="0" y="32"/>
                  </a:moveTo>
                  <a:cubicBezTo>
                    <a:pt x="0" y="36"/>
                    <a:pt x="1" y="40"/>
                    <a:pt x="3" y="44"/>
                  </a:cubicBezTo>
                  <a:cubicBezTo>
                    <a:pt x="4" y="45"/>
                    <a:pt x="4" y="45"/>
                    <a:pt x="5" y="46"/>
                  </a:cubicBezTo>
                  <a:cubicBezTo>
                    <a:pt x="6" y="47"/>
                    <a:pt x="6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9"/>
                    <a:pt x="7" y="49"/>
                  </a:cubicBezTo>
                  <a:cubicBezTo>
                    <a:pt x="14" y="53"/>
                    <a:pt x="22" y="56"/>
                    <a:pt x="31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41" y="56"/>
                    <a:pt x="50" y="53"/>
                    <a:pt x="56" y="49"/>
                  </a:cubicBezTo>
                  <a:cubicBezTo>
                    <a:pt x="57" y="49"/>
                    <a:pt x="57" y="48"/>
                    <a:pt x="57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48"/>
                    <a:pt x="58" y="47"/>
                    <a:pt x="59" y="46"/>
                  </a:cubicBezTo>
                  <a:cubicBezTo>
                    <a:pt x="59" y="45"/>
                    <a:pt x="60" y="45"/>
                    <a:pt x="60" y="44"/>
                  </a:cubicBezTo>
                  <a:cubicBezTo>
                    <a:pt x="62" y="40"/>
                    <a:pt x="63" y="36"/>
                    <a:pt x="63" y="32"/>
                  </a:cubicBezTo>
                  <a:cubicBezTo>
                    <a:pt x="63" y="14"/>
                    <a:pt x="49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1" name="任意多边形: 形状 1530"/>
            <p:cNvSpPr/>
            <p:nvPr>
              <p:custDataLst>
                <p:tags r:id="rId123"/>
              </p:custDataLst>
            </p:nvPr>
          </p:nvSpPr>
          <p:spPr bwMode="auto">
            <a:xfrm flipH="1">
              <a:off x="3474624" y="1759335"/>
              <a:ext cx="254387" cy="270792"/>
            </a:xfrm>
            <a:custGeom>
              <a:avLst/>
              <a:gdLst>
                <a:gd name="T0" fmla="*/ 260 w 279"/>
                <a:gd name="T1" fmla="*/ 315 h 315"/>
                <a:gd name="T2" fmla="*/ 260 w 279"/>
                <a:gd name="T3" fmla="*/ 0 h 315"/>
                <a:gd name="T4" fmla="*/ 244 w 279"/>
                <a:gd name="T5" fmla="*/ 36 h 315"/>
                <a:gd name="T6" fmla="*/ 244 w 279"/>
                <a:gd name="T7" fmla="*/ 64 h 315"/>
                <a:gd name="T8" fmla="*/ 260 w 279"/>
                <a:gd name="T9" fmla="*/ 119 h 315"/>
                <a:gd name="T10" fmla="*/ 260 w 279"/>
                <a:gd name="T11" fmla="*/ 142 h 315"/>
                <a:gd name="T12" fmla="*/ 244 w 279"/>
                <a:gd name="T13" fmla="*/ 197 h 315"/>
                <a:gd name="T14" fmla="*/ 244 w 279"/>
                <a:gd name="T15" fmla="*/ 225 h 315"/>
                <a:gd name="T16" fmla="*/ 260 w 279"/>
                <a:gd name="T17" fmla="*/ 279 h 315"/>
                <a:gd name="T18" fmla="*/ 140 w 279"/>
                <a:gd name="T19" fmla="*/ 230 h 315"/>
                <a:gd name="T20" fmla="*/ 227 w 279"/>
                <a:gd name="T21" fmla="*/ 315 h 315"/>
                <a:gd name="T22" fmla="*/ 244 w 279"/>
                <a:gd name="T23" fmla="*/ 279 h 315"/>
                <a:gd name="T24" fmla="*/ 227 w 279"/>
                <a:gd name="T25" fmla="*/ 249 h 315"/>
                <a:gd name="T26" fmla="*/ 227 w 279"/>
                <a:gd name="T27" fmla="*/ 225 h 315"/>
                <a:gd name="T28" fmla="*/ 244 w 279"/>
                <a:gd name="T29" fmla="*/ 197 h 315"/>
                <a:gd name="T30" fmla="*/ 227 w 279"/>
                <a:gd name="T31" fmla="*/ 142 h 315"/>
                <a:gd name="T32" fmla="*/ 244 w 279"/>
                <a:gd name="T33" fmla="*/ 119 h 315"/>
                <a:gd name="T34" fmla="*/ 227 w 279"/>
                <a:gd name="T35" fmla="*/ 88 h 315"/>
                <a:gd name="T36" fmla="*/ 227 w 279"/>
                <a:gd name="T37" fmla="*/ 64 h 315"/>
                <a:gd name="T38" fmla="*/ 244 w 279"/>
                <a:gd name="T39" fmla="*/ 36 h 315"/>
                <a:gd name="T40" fmla="*/ 227 w 279"/>
                <a:gd name="T41" fmla="*/ 0 h 315"/>
                <a:gd name="T42" fmla="*/ 140 w 279"/>
                <a:gd name="T43" fmla="*/ 83 h 315"/>
                <a:gd name="T44" fmla="*/ 206 w 279"/>
                <a:gd name="T45" fmla="*/ 114 h 315"/>
                <a:gd name="T46" fmla="*/ 140 w 279"/>
                <a:gd name="T47" fmla="*/ 230 h 315"/>
                <a:gd name="T48" fmla="*/ 36 w 279"/>
                <a:gd name="T49" fmla="*/ 12 h 315"/>
                <a:gd name="T50" fmla="*/ 52 w 279"/>
                <a:gd name="T51" fmla="*/ 64 h 315"/>
                <a:gd name="T52" fmla="*/ 36 w 279"/>
                <a:gd name="T53" fmla="*/ 88 h 315"/>
                <a:gd name="T54" fmla="*/ 52 w 279"/>
                <a:gd name="T55" fmla="*/ 119 h 315"/>
                <a:gd name="T56" fmla="*/ 52 w 279"/>
                <a:gd name="T57" fmla="*/ 142 h 315"/>
                <a:gd name="T58" fmla="*/ 36 w 279"/>
                <a:gd name="T59" fmla="*/ 171 h 315"/>
                <a:gd name="T60" fmla="*/ 52 w 279"/>
                <a:gd name="T61" fmla="*/ 225 h 315"/>
                <a:gd name="T62" fmla="*/ 36 w 279"/>
                <a:gd name="T63" fmla="*/ 249 h 315"/>
                <a:gd name="T64" fmla="*/ 52 w 279"/>
                <a:gd name="T65" fmla="*/ 279 h 315"/>
                <a:gd name="T66" fmla="*/ 52 w 279"/>
                <a:gd name="T67" fmla="*/ 303 h 315"/>
                <a:gd name="T68" fmla="*/ 74 w 279"/>
                <a:gd name="T69" fmla="*/ 230 h 315"/>
                <a:gd name="T70" fmla="*/ 74 w 279"/>
                <a:gd name="T71" fmla="*/ 199 h 315"/>
                <a:gd name="T72" fmla="*/ 140 w 279"/>
                <a:gd name="T73" fmla="*/ 83 h 315"/>
                <a:gd name="T74" fmla="*/ 52 w 279"/>
                <a:gd name="T75" fmla="*/ 0 h 315"/>
                <a:gd name="T76" fmla="*/ 21 w 279"/>
                <a:gd name="T77" fmla="*/ 0 h 315"/>
                <a:gd name="T78" fmla="*/ 21 w 279"/>
                <a:gd name="T79" fmla="*/ 315 h 315"/>
                <a:gd name="T80" fmla="*/ 36 w 279"/>
                <a:gd name="T81" fmla="*/ 279 h 315"/>
                <a:gd name="T82" fmla="*/ 36 w 279"/>
                <a:gd name="T83" fmla="*/ 249 h 315"/>
                <a:gd name="T84" fmla="*/ 21 w 279"/>
                <a:gd name="T85" fmla="*/ 197 h 315"/>
                <a:gd name="T86" fmla="*/ 21 w 279"/>
                <a:gd name="T87" fmla="*/ 171 h 315"/>
                <a:gd name="T88" fmla="*/ 36 w 279"/>
                <a:gd name="T89" fmla="*/ 119 h 315"/>
                <a:gd name="T90" fmla="*/ 36 w 279"/>
                <a:gd name="T91" fmla="*/ 88 h 315"/>
                <a:gd name="T92" fmla="*/ 21 w 279"/>
                <a:gd name="T93" fmla="*/ 36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9" h="315">
                  <a:moveTo>
                    <a:pt x="244" y="303"/>
                  </a:moveTo>
                  <a:lnTo>
                    <a:pt x="260" y="303"/>
                  </a:lnTo>
                  <a:lnTo>
                    <a:pt x="260" y="315"/>
                  </a:lnTo>
                  <a:lnTo>
                    <a:pt x="279" y="315"/>
                  </a:lnTo>
                  <a:lnTo>
                    <a:pt x="279" y="0"/>
                  </a:lnTo>
                  <a:lnTo>
                    <a:pt x="260" y="0"/>
                  </a:lnTo>
                  <a:lnTo>
                    <a:pt x="260" y="12"/>
                  </a:lnTo>
                  <a:lnTo>
                    <a:pt x="244" y="12"/>
                  </a:lnTo>
                  <a:lnTo>
                    <a:pt x="244" y="36"/>
                  </a:lnTo>
                  <a:lnTo>
                    <a:pt x="260" y="36"/>
                  </a:lnTo>
                  <a:lnTo>
                    <a:pt x="260" y="64"/>
                  </a:lnTo>
                  <a:lnTo>
                    <a:pt x="244" y="64"/>
                  </a:lnTo>
                  <a:lnTo>
                    <a:pt x="244" y="88"/>
                  </a:lnTo>
                  <a:lnTo>
                    <a:pt x="260" y="88"/>
                  </a:lnTo>
                  <a:lnTo>
                    <a:pt x="260" y="119"/>
                  </a:lnTo>
                  <a:lnTo>
                    <a:pt x="244" y="119"/>
                  </a:lnTo>
                  <a:lnTo>
                    <a:pt x="244" y="142"/>
                  </a:lnTo>
                  <a:lnTo>
                    <a:pt x="260" y="142"/>
                  </a:lnTo>
                  <a:lnTo>
                    <a:pt x="260" y="171"/>
                  </a:lnTo>
                  <a:lnTo>
                    <a:pt x="244" y="171"/>
                  </a:lnTo>
                  <a:lnTo>
                    <a:pt x="244" y="197"/>
                  </a:lnTo>
                  <a:lnTo>
                    <a:pt x="260" y="197"/>
                  </a:lnTo>
                  <a:lnTo>
                    <a:pt x="260" y="225"/>
                  </a:lnTo>
                  <a:lnTo>
                    <a:pt x="244" y="225"/>
                  </a:lnTo>
                  <a:lnTo>
                    <a:pt x="244" y="249"/>
                  </a:lnTo>
                  <a:lnTo>
                    <a:pt x="260" y="249"/>
                  </a:lnTo>
                  <a:lnTo>
                    <a:pt x="260" y="279"/>
                  </a:lnTo>
                  <a:lnTo>
                    <a:pt x="244" y="279"/>
                  </a:lnTo>
                  <a:lnTo>
                    <a:pt x="244" y="303"/>
                  </a:lnTo>
                  <a:close/>
                  <a:moveTo>
                    <a:pt x="140" y="230"/>
                  </a:moveTo>
                  <a:lnTo>
                    <a:pt x="206" y="230"/>
                  </a:lnTo>
                  <a:lnTo>
                    <a:pt x="206" y="315"/>
                  </a:lnTo>
                  <a:lnTo>
                    <a:pt x="227" y="315"/>
                  </a:lnTo>
                  <a:lnTo>
                    <a:pt x="227" y="303"/>
                  </a:lnTo>
                  <a:lnTo>
                    <a:pt x="244" y="303"/>
                  </a:lnTo>
                  <a:lnTo>
                    <a:pt x="244" y="279"/>
                  </a:lnTo>
                  <a:lnTo>
                    <a:pt x="227" y="279"/>
                  </a:lnTo>
                  <a:lnTo>
                    <a:pt x="227" y="249"/>
                  </a:lnTo>
                  <a:lnTo>
                    <a:pt x="227" y="249"/>
                  </a:lnTo>
                  <a:lnTo>
                    <a:pt x="244" y="249"/>
                  </a:lnTo>
                  <a:lnTo>
                    <a:pt x="244" y="225"/>
                  </a:lnTo>
                  <a:lnTo>
                    <a:pt x="227" y="225"/>
                  </a:lnTo>
                  <a:lnTo>
                    <a:pt x="227" y="197"/>
                  </a:lnTo>
                  <a:lnTo>
                    <a:pt x="227" y="197"/>
                  </a:lnTo>
                  <a:lnTo>
                    <a:pt x="244" y="197"/>
                  </a:lnTo>
                  <a:lnTo>
                    <a:pt x="244" y="171"/>
                  </a:lnTo>
                  <a:lnTo>
                    <a:pt x="227" y="171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44" y="142"/>
                  </a:lnTo>
                  <a:lnTo>
                    <a:pt x="244" y="119"/>
                  </a:lnTo>
                  <a:lnTo>
                    <a:pt x="227" y="119"/>
                  </a:lnTo>
                  <a:lnTo>
                    <a:pt x="227" y="88"/>
                  </a:lnTo>
                  <a:lnTo>
                    <a:pt x="227" y="88"/>
                  </a:lnTo>
                  <a:lnTo>
                    <a:pt x="244" y="88"/>
                  </a:lnTo>
                  <a:lnTo>
                    <a:pt x="244" y="64"/>
                  </a:lnTo>
                  <a:lnTo>
                    <a:pt x="227" y="64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44" y="36"/>
                  </a:lnTo>
                  <a:lnTo>
                    <a:pt x="244" y="12"/>
                  </a:lnTo>
                  <a:lnTo>
                    <a:pt x="227" y="12"/>
                  </a:lnTo>
                  <a:lnTo>
                    <a:pt x="227" y="0"/>
                  </a:lnTo>
                  <a:lnTo>
                    <a:pt x="206" y="0"/>
                  </a:lnTo>
                  <a:lnTo>
                    <a:pt x="206" y="83"/>
                  </a:lnTo>
                  <a:lnTo>
                    <a:pt x="140" y="83"/>
                  </a:lnTo>
                  <a:lnTo>
                    <a:pt x="140" y="114"/>
                  </a:lnTo>
                  <a:lnTo>
                    <a:pt x="206" y="114"/>
                  </a:lnTo>
                  <a:lnTo>
                    <a:pt x="206" y="114"/>
                  </a:lnTo>
                  <a:lnTo>
                    <a:pt x="206" y="199"/>
                  </a:lnTo>
                  <a:lnTo>
                    <a:pt x="140" y="199"/>
                  </a:lnTo>
                  <a:lnTo>
                    <a:pt x="140" y="230"/>
                  </a:lnTo>
                  <a:close/>
                  <a:moveTo>
                    <a:pt x="52" y="0"/>
                  </a:moveTo>
                  <a:lnTo>
                    <a:pt x="52" y="12"/>
                  </a:lnTo>
                  <a:lnTo>
                    <a:pt x="36" y="12"/>
                  </a:lnTo>
                  <a:lnTo>
                    <a:pt x="36" y="36"/>
                  </a:lnTo>
                  <a:lnTo>
                    <a:pt x="52" y="36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36" y="64"/>
                  </a:lnTo>
                  <a:lnTo>
                    <a:pt x="36" y="88"/>
                  </a:lnTo>
                  <a:lnTo>
                    <a:pt x="52" y="88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36" y="119"/>
                  </a:lnTo>
                  <a:lnTo>
                    <a:pt x="36" y="142"/>
                  </a:lnTo>
                  <a:lnTo>
                    <a:pt x="52" y="142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36" y="171"/>
                  </a:lnTo>
                  <a:lnTo>
                    <a:pt x="36" y="197"/>
                  </a:lnTo>
                  <a:lnTo>
                    <a:pt x="52" y="197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36" y="225"/>
                  </a:lnTo>
                  <a:lnTo>
                    <a:pt x="36" y="249"/>
                  </a:lnTo>
                  <a:lnTo>
                    <a:pt x="52" y="249"/>
                  </a:lnTo>
                  <a:lnTo>
                    <a:pt x="52" y="279"/>
                  </a:lnTo>
                  <a:lnTo>
                    <a:pt x="52" y="279"/>
                  </a:lnTo>
                  <a:lnTo>
                    <a:pt x="36" y="279"/>
                  </a:lnTo>
                  <a:lnTo>
                    <a:pt x="36" y="303"/>
                  </a:lnTo>
                  <a:lnTo>
                    <a:pt x="52" y="303"/>
                  </a:lnTo>
                  <a:lnTo>
                    <a:pt x="52" y="315"/>
                  </a:lnTo>
                  <a:lnTo>
                    <a:pt x="74" y="315"/>
                  </a:lnTo>
                  <a:lnTo>
                    <a:pt x="74" y="230"/>
                  </a:lnTo>
                  <a:lnTo>
                    <a:pt x="140" y="230"/>
                  </a:lnTo>
                  <a:lnTo>
                    <a:pt x="140" y="199"/>
                  </a:lnTo>
                  <a:lnTo>
                    <a:pt x="74" y="199"/>
                  </a:lnTo>
                  <a:lnTo>
                    <a:pt x="74" y="114"/>
                  </a:lnTo>
                  <a:lnTo>
                    <a:pt x="140" y="114"/>
                  </a:lnTo>
                  <a:lnTo>
                    <a:pt x="140" y="83"/>
                  </a:lnTo>
                  <a:lnTo>
                    <a:pt x="74" y="83"/>
                  </a:lnTo>
                  <a:lnTo>
                    <a:pt x="74" y="0"/>
                  </a:lnTo>
                  <a:lnTo>
                    <a:pt x="52" y="0"/>
                  </a:lnTo>
                  <a:close/>
                  <a:moveTo>
                    <a:pt x="36" y="12"/>
                  </a:moveTo>
                  <a:lnTo>
                    <a:pt x="21" y="12"/>
                  </a:lnTo>
                  <a:lnTo>
                    <a:pt x="21" y="0"/>
                  </a:lnTo>
                  <a:lnTo>
                    <a:pt x="0" y="0"/>
                  </a:lnTo>
                  <a:lnTo>
                    <a:pt x="0" y="315"/>
                  </a:lnTo>
                  <a:lnTo>
                    <a:pt x="21" y="315"/>
                  </a:lnTo>
                  <a:lnTo>
                    <a:pt x="21" y="303"/>
                  </a:lnTo>
                  <a:lnTo>
                    <a:pt x="36" y="303"/>
                  </a:lnTo>
                  <a:lnTo>
                    <a:pt x="36" y="279"/>
                  </a:lnTo>
                  <a:lnTo>
                    <a:pt x="21" y="279"/>
                  </a:lnTo>
                  <a:lnTo>
                    <a:pt x="21" y="249"/>
                  </a:lnTo>
                  <a:lnTo>
                    <a:pt x="36" y="249"/>
                  </a:lnTo>
                  <a:lnTo>
                    <a:pt x="36" y="225"/>
                  </a:lnTo>
                  <a:lnTo>
                    <a:pt x="21" y="225"/>
                  </a:lnTo>
                  <a:lnTo>
                    <a:pt x="21" y="197"/>
                  </a:lnTo>
                  <a:lnTo>
                    <a:pt x="36" y="197"/>
                  </a:lnTo>
                  <a:lnTo>
                    <a:pt x="36" y="171"/>
                  </a:lnTo>
                  <a:lnTo>
                    <a:pt x="21" y="171"/>
                  </a:lnTo>
                  <a:lnTo>
                    <a:pt x="21" y="142"/>
                  </a:lnTo>
                  <a:lnTo>
                    <a:pt x="36" y="142"/>
                  </a:lnTo>
                  <a:lnTo>
                    <a:pt x="36" y="119"/>
                  </a:lnTo>
                  <a:lnTo>
                    <a:pt x="21" y="119"/>
                  </a:lnTo>
                  <a:lnTo>
                    <a:pt x="21" y="88"/>
                  </a:lnTo>
                  <a:lnTo>
                    <a:pt x="36" y="88"/>
                  </a:lnTo>
                  <a:lnTo>
                    <a:pt x="36" y="64"/>
                  </a:lnTo>
                  <a:lnTo>
                    <a:pt x="21" y="64"/>
                  </a:lnTo>
                  <a:lnTo>
                    <a:pt x="21" y="36"/>
                  </a:lnTo>
                  <a:lnTo>
                    <a:pt x="36" y="36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2" name="任意多边形: 形状 1531"/>
            <p:cNvSpPr/>
            <p:nvPr>
              <p:custDataLst>
                <p:tags r:id="rId124"/>
              </p:custDataLst>
            </p:nvPr>
          </p:nvSpPr>
          <p:spPr bwMode="auto">
            <a:xfrm flipH="1">
              <a:off x="1271766" y="5887416"/>
              <a:ext cx="58354" cy="68773"/>
            </a:xfrm>
            <a:custGeom>
              <a:avLst/>
              <a:gdLst>
                <a:gd name="T0" fmla="*/ 64 w 64"/>
                <a:gd name="T1" fmla="*/ 0 h 80"/>
                <a:gd name="T2" fmla="*/ 0 w 64"/>
                <a:gd name="T3" fmla="*/ 0 h 80"/>
                <a:gd name="T4" fmla="*/ 0 w 64"/>
                <a:gd name="T5" fmla="*/ 28 h 80"/>
                <a:gd name="T6" fmla="*/ 64 w 64"/>
                <a:gd name="T7" fmla="*/ 80 h 80"/>
                <a:gd name="T8" fmla="*/ 64 w 64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0">
                  <a:moveTo>
                    <a:pt x="64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64" y="8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3" name="任意多边形: 形状 1532"/>
            <p:cNvSpPr/>
            <p:nvPr>
              <p:custDataLst>
                <p:tags r:id="rId125"/>
              </p:custDataLst>
            </p:nvPr>
          </p:nvSpPr>
          <p:spPr bwMode="auto">
            <a:xfrm flipH="1">
              <a:off x="1271766" y="5945872"/>
              <a:ext cx="238886" cy="220073"/>
            </a:xfrm>
            <a:custGeom>
              <a:avLst/>
              <a:gdLst>
                <a:gd name="T0" fmla="*/ 262 w 262"/>
                <a:gd name="T1" fmla="*/ 135 h 256"/>
                <a:gd name="T2" fmla="*/ 262 w 262"/>
                <a:gd name="T3" fmla="*/ 107 h 256"/>
                <a:gd name="T4" fmla="*/ 198 w 262"/>
                <a:gd name="T5" fmla="*/ 55 h 256"/>
                <a:gd name="T6" fmla="*/ 130 w 262"/>
                <a:gd name="T7" fmla="*/ 0 h 256"/>
                <a:gd name="T8" fmla="*/ 0 w 262"/>
                <a:gd name="T9" fmla="*/ 107 h 256"/>
                <a:gd name="T10" fmla="*/ 0 w 262"/>
                <a:gd name="T11" fmla="*/ 256 h 256"/>
                <a:gd name="T12" fmla="*/ 83 w 262"/>
                <a:gd name="T13" fmla="*/ 256 h 256"/>
                <a:gd name="T14" fmla="*/ 83 w 262"/>
                <a:gd name="T15" fmla="*/ 109 h 256"/>
                <a:gd name="T16" fmla="*/ 180 w 262"/>
                <a:gd name="T17" fmla="*/ 109 h 256"/>
                <a:gd name="T18" fmla="*/ 180 w 262"/>
                <a:gd name="T19" fmla="*/ 256 h 256"/>
                <a:gd name="T20" fmla="*/ 262 w 262"/>
                <a:gd name="T21" fmla="*/ 256 h 256"/>
                <a:gd name="T22" fmla="*/ 262 w 262"/>
                <a:gd name="T23" fmla="*/ 13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2" h="256">
                  <a:moveTo>
                    <a:pt x="262" y="135"/>
                  </a:moveTo>
                  <a:lnTo>
                    <a:pt x="262" y="107"/>
                  </a:lnTo>
                  <a:lnTo>
                    <a:pt x="198" y="55"/>
                  </a:lnTo>
                  <a:lnTo>
                    <a:pt x="130" y="0"/>
                  </a:lnTo>
                  <a:lnTo>
                    <a:pt x="0" y="107"/>
                  </a:lnTo>
                  <a:lnTo>
                    <a:pt x="0" y="256"/>
                  </a:lnTo>
                  <a:lnTo>
                    <a:pt x="83" y="256"/>
                  </a:lnTo>
                  <a:lnTo>
                    <a:pt x="83" y="109"/>
                  </a:lnTo>
                  <a:lnTo>
                    <a:pt x="180" y="109"/>
                  </a:lnTo>
                  <a:lnTo>
                    <a:pt x="180" y="256"/>
                  </a:lnTo>
                  <a:lnTo>
                    <a:pt x="262" y="256"/>
                  </a:lnTo>
                  <a:lnTo>
                    <a:pt x="262" y="13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4" name="任意多边形: 形状 1533"/>
            <p:cNvSpPr/>
            <p:nvPr>
              <p:custDataLst>
                <p:tags r:id="rId126"/>
              </p:custDataLst>
            </p:nvPr>
          </p:nvSpPr>
          <p:spPr bwMode="auto">
            <a:xfrm flipH="1">
              <a:off x="1213413" y="5875380"/>
              <a:ext cx="355594" cy="172792"/>
            </a:xfrm>
            <a:custGeom>
              <a:avLst/>
              <a:gdLst>
                <a:gd name="T0" fmla="*/ 64 w 390"/>
                <a:gd name="T1" fmla="*/ 177 h 201"/>
                <a:gd name="T2" fmla="*/ 194 w 390"/>
                <a:gd name="T3" fmla="*/ 68 h 201"/>
                <a:gd name="T4" fmla="*/ 262 w 390"/>
                <a:gd name="T5" fmla="*/ 123 h 201"/>
                <a:gd name="T6" fmla="*/ 326 w 390"/>
                <a:gd name="T7" fmla="*/ 177 h 201"/>
                <a:gd name="T8" fmla="*/ 357 w 390"/>
                <a:gd name="T9" fmla="*/ 201 h 201"/>
                <a:gd name="T10" fmla="*/ 390 w 390"/>
                <a:gd name="T11" fmla="*/ 158 h 201"/>
                <a:gd name="T12" fmla="*/ 326 w 390"/>
                <a:gd name="T13" fmla="*/ 108 h 201"/>
                <a:gd name="T14" fmla="*/ 262 w 390"/>
                <a:gd name="T15" fmla="*/ 56 h 201"/>
                <a:gd name="T16" fmla="*/ 194 w 390"/>
                <a:gd name="T17" fmla="*/ 0 h 201"/>
                <a:gd name="T18" fmla="*/ 0 w 390"/>
                <a:gd name="T19" fmla="*/ 158 h 201"/>
                <a:gd name="T20" fmla="*/ 33 w 390"/>
                <a:gd name="T21" fmla="*/ 201 h 201"/>
                <a:gd name="T22" fmla="*/ 64 w 390"/>
                <a:gd name="T23" fmla="*/ 177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0" h="201">
                  <a:moveTo>
                    <a:pt x="64" y="177"/>
                  </a:moveTo>
                  <a:lnTo>
                    <a:pt x="194" y="68"/>
                  </a:lnTo>
                  <a:lnTo>
                    <a:pt x="262" y="123"/>
                  </a:lnTo>
                  <a:lnTo>
                    <a:pt x="326" y="177"/>
                  </a:lnTo>
                  <a:lnTo>
                    <a:pt x="357" y="201"/>
                  </a:lnTo>
                  <a:lnTo>
                    <a:pt x="390" y="158"/>
                  </a:lnTo>
                  <a:lnTo>
                    <a:pt x="326" y="108"/>
                  </a:lnTo>
                  <a:lnTo>
                    <a:pt x="262" y="56"/>
                  </a:lnTo>
                  <a:lnTo>
                    <a:pt x="194" y="0"/>
                  </a:lnTo>
                  <a:lnTo>
                    <a:pt x="0" y="158"/>
                  </a:lnTo>
                  <a:lnTo>
                    <a:pt x="33" y="201"/>
                  </a:lnTo>
                  <a:lnTo>
                    <a:pt x="64" y="177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5" name="任意多边形: 形状 1534"/>
            <p:cNvSpPr/>
            <p:nvPr>
              <p:custDataLst>
                <p:tags r:id="rId127"/>
              </p:custDataLst>
            </p:nvPr>
          </p:nvSpPr>
          <p:spPr bwMode="auto">
            <a:xfrm flipH="1">
              <a:off x="2497197" y="6017224"/>
              <a:ext cx="90266" cy="169353"/>
            </a:xfrm>
            <a:custGeom>
              <a:avLst/>
              <a:gdLst>
                <a:gd name="T0" fmla="*/ 0 w 99"/>
                <a:gd name="T1" fmla="*/ 197 h 197"/>
                <a:gd name="T2" fmla="*/ 99 w 99"/>
                <a:gd name="T3" fmla="*/ 78 h 197"/>
                <a:gd name="T4" fmla="*/ 0 w 99"/>
                <a:gd name="T5" fmla="*/ 0 h 197"/>
                <a:gd name="T6" fmla="*/ 0 w 99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97">
                  <a:moveTo>
                    <a:pt x="0" y="197"/>
                  </a:moveTo>
                  <a:lnTo>
                    <a:pt x="99" y="78"/>
                  </a:lnTo>
                  <a:lnTo>
                    <a:pt x="0" y="0"/>
                  </a:lnTo>
                  <a:lnTo>
                    <a:pt x="0" y="1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6" name="任意多边形: 形状 1535"/>
            <p:cNvSpPr/>
            <p:nvPr>
              <p:custDataLst>
                <p:tags r:id="rId128"/>
              </p:custDataLst>
            </p:nvPr>
          </p:nvSpPr>
          <p:spPr bwMode="auto">
            <a:xfrm flipH="1">
              <a:off x="2281106" y="6017224"/>
              <a:ext cx="90266" cy="169353"/>
            </a:xfrm>
            <a:custGeom>
              <a:avLst/>
              <a:gdLst>
                <a:gd name="T0" fmla="*/ 99 w 99"/>
                <a:gd name="T1" fmla="*/ 197 h 197"/>
                <a:gd name="T2" fmla="*/ 99 w 99"/>
                <a:gd name="T3" fmla="*/ 0 h 197"/>
                <a:gd name="T4" fmla="*/ 0 w 99"/>
                <a:gd name="T5" fmla="*/ 78 h 197"/>
                <a:gd name="T6" fmla="*/ 99 w 99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97">
                  <a:moveTo>
                    <a:pt x="99" y="197"/>
                  </a:moveTo>
                  <a:lnTo>
                    <a:pt x="99" y="0"/>
                  </a:lnTo>
                  <a:lnTo>
                    <a:pt x="0" y="78"/>
                  </a:lnTo>
                  <a:lnTo>
                    <a:pt x="99" y="1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7" name="任意多边形: 形状 1536"/>
            <p:cNvSpPr/>
            <p:nvPr>
              <p:custDataLst>
                <p:tags r:id="rId129"/>
              </p:custDataLst>
            </p:nvPr>
          </p:nvSpPr>
          <p:spPr bwMode="auto">
            <a:xfrm flipH="1">
              <a:off x="2281106" y="6192596"/>
              <a:ext cx="0" cy="1718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8" name="任意多边形: 形状 1537"/>
            <p:cNvSpPr/>
            <p:nvPr>
              <p:custDataLst>
                <p:tags r:id="rId130"/>
              </p:custDataLst>
            </p:nvPr>
          </p:nvSpPr>
          <p:spPr bwMode="auto">
            <a:xfrm flipH="1">
              <a:off x="2585640" y="6192596"/>
              <a:ext cx="1824" cy="1718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39" name="任意多边形: 形状 1538"/>
            <p:cNvSpPr/>
            <p:nvPr>
              <p:custDataLst>
                <p:tags r:id="rId131"/>
              </p:custDataLst>
            </p:nvPr>
          </p:nvSpPr>
          <p:spPr bwMode="auto">
            <a:xfrm flipH="1">
              <a:off x="2285665" y="6090295"/>
              <a:ext cx="295416" cy="104019"/>
            </a:xfrm>
            <a:custGeom>
              <a:avLst/>
              <a:gdLst>
                <a:gd name="T0" fmla="*/ 324 w 324"/>
                <a:gd name="T1" fmla="*/ 121 h 121"/>
                <a:gd name="T2" fmla="*/ 322 w 324"/>
                <a:gd name="T3" fmla="*/ 119 h 121"/>
                <a:gd name="T4" fmla="*/ 222 w 324"/>
                <a:gd name="T5" fmla="*/ 0 h 121"/>
                <a:gd name="T6" fmla="*/ 161 w 324"/>
                <a:gd name="T7" fmla="*/ 50 h 121"/>
                <a:gd name="T8" fmla="*/ 99 w 324"/>
                <a:gd name="T9" fmla="*/ 0 h 121"/>
                <a:gd name="T10" fmla="*/ 0 w 324"/>
                <a:gd name="T11" fmla="*/ 119 h 121"/>
                <a:gd name="T12" fmla="*/ 0 w 324"/>
                <a:gd name="T13" fmla="*/ 121 h 121"/>
                <a:gd name="T14" fmla="*/ 324 w 324"/>
                <a:gd name="T1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4" h="121">
                  <a:moveTo>
                    <a:pt x="324" y="121"/>
                  </a:moveTo>
                  <a:lnTo>
                    <a:pt x="322" y="119"/>
                  </a:lnTo>
                  <a:lnTo>
                    <a:pt x="222" y="0"/>
                  </a:lnTo>
                  <a:lnTo>
                    <a:pt x="161" y="50"/>
                  </a:lnTo>
                  <a:lnTo>
                    <a:pt x="99" y="0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324" y="12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0" name="任意多边形: 形状 1539"/>
            <p:cNvSpPr/>
            <p:nvPr>
              <p:custDataLst>
                <p:tags r:id="rId132"/>
              </p:custDataLst>
            </p:nvPr>
          </p:nvSpPr>
          <p:spPr bwMode="auto">
            <a:xfrm flipH="1">
              <a:off x="2287488" y="6011206"/>
              <a:ext cx="293593" cy="111756"/>
            </a:xfrm>
            <a:custGeom>
              <a:avLst/>
              <a:gdLst>
                <a:gd name="T0" fmla="*/ 97 w 322"/>
                <a:gd name="T1" fmla="*/ 78 h 130"/>
                <a:gd name="T2" fmla="*/ 102 w 322"/>
                <a:gd name="T3" fmla="*/ 81 h 130"/>
                <a:gd name="T4" fmla="*/ 107 w 322"/>
                <a:gd name="T5" fmla="*/ 85 h 130"/>
                <a:gd name="T6" fmla="*/ 161 w 322"/>
                <a:gd name="T7" fmla="*/ 130 h 130"/>
                <a:gd name="T8" fmla="*/ 218 w 322"/>
                <a:gd name="T9" fmla="*/ 85 h 130"/>
                <a:gd name="T10" fmla="*/ 220 w 322"/>
                <a:gd name="T11" fmla="*/ 81 h 130"/>
                <a:gd name="T12" fmla="*/ 225 w 322"/>
                <a:gd name="T13" fmla="*/ 78 h 130"/>
                <a:gd name="T14" fmla="*/ 322 w 322"/>
                <a:gd name="T15" fmla="*/ 0 h 130"/>
                <a:gd name="T16" fmla="*/ 0 w 322"/>
                <a:gd name="T17" fmla="*/ 0 h 130"/>
                <a:gd name="T18" fmla="*/ 97 w 322"/>
                <a:gd name="T1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2" h="130">
                  <a:moveTo>
                    <a:pt x="97" y="78"/>
                  </a:moveTo>
                  <a:lnTo>
                    <a:pt x="102" y="81"/>
                  </a:lnTo>
                  <a:lnTo>
                    <a:pt x="107" y="85"/>
                  </a:lnTo>
                  <a:lnTo>
                    <a:pt x="161" y="130"/>
                  </a:lnTo>
                  <a:lnTo>
                    <a:pt x="218" y="85"/>
                  </a:lnTo>
                  <a:lnTo>
                    <a:pt x="220" y="81"/>
                  </a:lnTo>
                  <a:lnTo>
                    <a:pt x="225" y="78"/>
                  </a:lnTo>
                  <a:lnTo>
                    <a:pt x="322" y="0"/>
                  </a:lnTo>
                  <a:lnTo>
                    <a:pt x="0" y="0"/>
                  </a:lnTo>
                  <a:lnTo>
                    <a:pt x="97" y="7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1" name="任意多边形: 形状 1540"/>
            <p:cNvSpPr/>
            <p:nvPr>
              <p:custDataLst>
                <p:tags r:id="rId133"/>
              </p:custDataLst>
            </p:nvPr>
          </p:nvSpPr>
          <p:spPr bwMode="auto">
            <a:xfrm flipH="1">
              <a:off x="1722185" y="1960496"/>
              <a:ext cx="315475" cy="183108"/>
            </a:xfrm>
            <a:custGeom>
              <a:avLst/>
              <a:gdLst>
                <a:gd name="T0" fmla="*/ 146 w 146"/>
                <a:gd name="T1" fmla="*/ 74 h 90"/>
                <a:gd name="T2" fmla="*/ 130 w 146"/>
                <a:gd name="T3" fmla="*/ 58 h 90"/>
                <a:gd name="T4" fmla="*/ 132 w 146"/>
                <a:gd name="T5" fmla="*/ 45 h 90"/>
                <a:gd name="T6" fmla="*/ 87 w 146"/>
                <a:gd name="T7" fmla="*/ 0 h 90"/>
                <a:gd name="T8" fmla="*/ 43 w 146"/>
                <a:gd name="T9" fmla="*/ 44 h 90"/>
                <a:gd name="T10" fmla="*/ 26 w 146"/>
                <a:gd name="T11" fmla="*/ 38 h 90"/>
                <a:gd name="T12" fmla="*/ 0 w 146"/>
                <a:gd name="T13" fmla="*/ 64 h 90"/>
                <a:gd name="T14" fmla="*/ 26 w 146"/>
                <a:gd name="T15" fmla="*/ 90 h 90"/>
                <a:gd name="T16" fmla="*/ 85 w 146"/>
                <a:gd name="T17" fmla="*/ 90 h 90"/>
                <a:gd name="T18" fmla="*/ 87 w 146"/>
                <a:gd name="T19" fmla="*/ 90 h 90"/>
                <a:gd name="T20" fmla="*/ 130 w 146"/>
                <a:gd name="T21" fmla="*/ 90 h 90"/>
                <a:gd name="T22" fmla="*/ 146 w 146"/>
                <a:gd name="T23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90">
                  <a:moveTo>
                    <a:pt x="146" y="74"/>
                  </a:moveTo>
                  <a:cubicBezTo>
                    <a:pt x="146" y="65"/>
                    <a:pt x="139" y="58"/>
                    <a:pt x="130" y="58"/>
                  </a:cubicBezTo>
                  <a:cubicBezTo>
                    <a:pt x="132" y="54"/>
                    <a:pt x="132" y="50"/>
                    <a:pt x="132" y="45"/>
                  </a:cubicBezTo>
                  <a:cubicBezTo>
                    <a:pt x="132" y="20"/>
                    <a:pt x="112" y="0"/>
                    <a:pt x="87" y="0"/>
                  </a:cubicBezTo>
                  <a:cubicBezTo>
                    <a:pt x="63" y="0"/>
                    <a:pt x="43" y="20"/>
                    <a:pt x="43" y="44"/>
                  </a:cubicBezTo>
                  <a:cubicBezTo>
                    <a:pt x="38" y="40"/>
                    <a:pt x="32" y="38"/>
                    <a:pt x="26" y="38"/>
                  </a:cubicBezTo>
                  <a:cubicBezTo>
                    <a:pt x="12" y="38"/>
                    <a:pt x="0" y="50"/>
                    <a:pt x="0" y="64"/>
                  </a:cubicBezTo>
                  <a:cubicBezTo>
                    <a:pt x="0" y="78"/>
                    <a:pt x="12" y="90"/>
                    <a:pt x="26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130" y="90"/>
                    <a:pt x="130" y="90"/>
                    <a:pt x="130" y="90"/>
                  </a:cubicBezTo>
                  <a:cubicBezTo>
                    <a:pt x="139" y="90"/>
                    <a:pt x="146" y="83"/>
                    <a:pt x="146" y="7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2" name="矩形 1541"/>
            <p:cNvSpPr/>
            <p:nvPr>
              <p:custDataLst>
                <p:tags r:id="rId134"/>
              </p:custDataLst>
            </p:nvPr>
          </p:nvSpPr>
          <p:spPr bwMode="auto">
            <a:xfrm flipH="1">
              <a:off x="1966542" y="2159937"/>
              <a:ext cx="25530" cy="575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3" name="矩形 1542"/>
            <p:cNvSpPr/>
            <p:nvPr>
              <p:custDataLst>
                <p:tags r:id="rId135"/>
              </p:custDataLst>
            </p:nvPr>
          </p:nvSpPr>
          <p:spPr bwMode="auto">
            <a:xfrm flipH="1">
              <a:off x="1899070" y="2190885"/>
              <a:ext cx="28265" cy="5673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4" name="矩形 1543"/>
            <p:cNvSpPr/>
            <p:nvPr>
              <p:custDataLst>
                <p:tags r:id="rId136"/>
              </p:custDataLst>
            </p:nvPr>
          </p:nvSpPr>
          <p:spPr bwMode="auto">
            <a:xfrm flipH="1">
              <a:off x="1834334" y="2159937"/>
              <a:ext cx="26442" cy="575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5" name="矩形 1544"/>
            <p:cNvSpPr/>
            <p:nvPr>
              <p:custDataLst>
                <p:tags r:id="rId137"/>
              </p:custDataLst>
            </p:nvPr>
          </p:nvSpPr>
          <p:spPr bwMode="auto">
            <a:xfrm flipH="1">
              <a:off x="1767774" y="2190885"/>
              <a:ext cx="28265" cy="5673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6" name="任意多边形: 形状 1545"/>
            <p:cNvSpPr/>
            <p:nvPr>
              <p:custDataLst>
                <p:tags r:id="rId138"/>
              </p:custDataLst>
            </p:nvPr>
          </p:nvSpPr>
          <p:spPr bwMode="auto">
            <a:xfrm flipH="1">
              <a:off x="1562624" y="2814997"/>
              <a:ext cx="269887" cy="209757"/>
            </a:xfrm>
            <a:custGeom>
              <a:avLst/>
              <a:gdLst>
                <a:gd name="T0" fmla="*/ 241 w 296"/>
                <a:gd name="T1" fmla="*/ 0 h 244"/>
                <a:gd name="T2" fmla="*/ 107 w 296"/>
                <a:gd name="T3" fmla="*/ 137 h 244"/>
                <a:gd name="T4" fmla="*/ 55 w 296"/>
                <a:gd name="T5" fmla="*/ 85 h 244"/>
                <a:gd name="T6" fmla="*/ 0 w 296"/>
                <a:gd name="T7" fmla="*/ 139 h 244"/>
                <a:gd name="T8" fmla="*/ 52 w 296"/>
                <a:gd name="T9" fmla="*/ 189 h 244"/>
                <a:gd name="T10" fmla="*/ 107 w 296"/>
                <a:gd name="T11" fmla="*/ 244 h 244"/>
                <a:gd name="T12" fmla="*/ 159 w 296"/>
                <a:gd name="T13" fmla="*/ 189 h 244"/>
                <a:gd name="T14" fmla="*/ 296 w 296"/>
                <a:gd name="T15" fmla="*/ 54 h 244"/>
                <a:gd name="T16" fmla="*/ 241 w 296"/>
                <a:gd name="T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6" h="244">
                  <a:moveTo>
                    <a:pt x="241" y="0"/>
                  </a:moveTo>
                  <a:lnTo>
                    <a:pt x="107" y="137"/>
                  </a:lnTo>
                  <a:lnTo>
                    <a:pt x="55" y="85"/>
                  </a:lnTo>
                  <a:lnTo>
                    <a:pt x="0" y="139"/>
                  </a:lnTo>
                  <a:lnTo>
                    <a:pt x="52" y="189"/>
                  </a:lnTo>
                  <a:lnTo>
                    <a:pt x="107" y="244"/>
                  </a:lnTo>
                  <a:lnTo>
                    <a:pt x="159" y="189"/>
                  </a:lnTo>
                  <a:lnTo>
                    <a:pt x="296" y="54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7" name="任意多边形: 形状 1546"/>
            <p:cNvSpPr/>
            <p:nvPr>
              <p:custDataLst>
                <p:tags r:id="rId139"/>
              </p:custDataLst>
            </p:nvPr>
          </p:nvSpPr>
          <p:spPr bwMode="auto">
            <a:xfrm flipH="1">
              <a:off x="3791011" y="2916436"/>
              <a:ext cx="321858" cy="71352"/>
            </a:xfrm>
            <a:custGeom>
              <a:avLst/>
              <a:gdLst>
                <a:gd name="T0" fmla="*/ 353 w 353"/>
                <a:gd name="T1" fmla="*/ 0 h 83"/>
                <a:gd name="T2" fmla="*/ 322 w 353"/>
                <a:gd name="T3" fmla="*/ 0 h 83"/>
                <a:gd name="T4" fmla="*/ 322 w 353"/>
                <a:gd name="T5" fmla="*/ 52 h 83"/>
                <a:gd name="T6" fmla="*/ 33 w 353"/>
                <a:gd name="T7" fmla="*/ 52 h 83"/>
                <a:gd name="T8" fmla="*/ 33 w 353"/>
                <a:gd name="T9" fmla="*/ 0 h 83"/>
                <a:gd name="T10" fmla="*/ 0 w 353"/>
                <a:gd name="T11" fmla="*/ 0 h 83"/>
                <a:gd name="T12" fmla="*/ 0 w 353"/>
                <a:gd name="T13" fmla="*/ 83 h 83"/>
                <a:gd name="T14" fmla="*/ 353 w 353"/>
                <a:gd name="T15" fmla="*/ 83 h 83"/>
                <a:gd name="T16" fmla="*/ 353 w 353"/>
                <a:gd name="T1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83">
                  <a:moveTo>
                    <a:pt x="353" y="0"/>
                  </a:moveTo>
                  <a:lnTo>
                    <a:pt x="322" y="0"/>
                  </a:lnTo>
                  <a:lnTo>
                    <a:pt x="322" y="52"/>
                  </a:lnTo>
                  <a:lnTo>
                    <a:pt x="33" y="5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83"/>
                  </a:lnTo>
                  <a:lnTo>
                    <a:pt x="353" y="83"/>
                  </a:lnTo>
                  <a:lnTo>
                    <a:pt x="35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8" name="任意多边形: 形状 1547"/>
            <p:cNvSpPr/>
            <p:nvPr>
              <p:custDataLst>
                <p:tags r:id="rId140"/>
              </p:custDataLst>
            </p:nvPr>
          </p:nvSpPr>
          <p:spPr bwMode="auto">
            <a:xfrm flipH="1">
              <a:off x="3830218" y="2700662"/>
              <a:ext cx="237063" cy="238126"/>
            </a:xfrm>
            <a:custGeom>
              <a:avLst/>
              <a:gdLst>
                <a:gd name="T0" fmla="*/ 45 w 260"/>
                <a:gd name="T1" fmla="*/ 116 h 277"/>
                <a:gd name="T2" fmla="*/ 0 w 260"/>
                <a:gd name="T3" fmla="*/ 116 h 277"/>
                <a:gd name="T4" fmla="*/ 130 w 260"/>
                <a:gd name="T5" fmla="*/ 277 h 277"/>
                <a:gd name="T6" fmla="*/ 260 w 260"/>
                <a:gd name="T7" fmla="*/ 116 h 277"/>
                <a:gd name="T8" fmla="*/ 215 w 260"/>
                <a:gd name="T9" fmla="*/ 116 h 277"/>
                <a:gd name="T10" fmla="*/ 215 w 260"/>
                <a:gd name="T11" fmla="*/ 0 h 277"/>
                <a:gd name="T12" fmla="*/ 45 w 260"/>
                <a:gd name="T13" fmla="*/ 0 h 277"/>
                <a:gd name="T14" fmla="*/ 45 w 260"/>
                <a:gd name="T15" fmla="*/ 11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0" h="277">
                  <a:moveTo>
                    <a:pt x="45" y="116"/>
                  </a:moveTo>
                  <a:lnTo>
                    <a:pt x="0" y="116"/>
                  </a:lnTo>
                  <a:lnTo>
                    <a:pt x="130" y="277"/>
                  </a:lnTo>
                  <a:lnTo>
                    <a:pt x="260" y="116"/>
                  </a:lnTo>
                  <a:lnTo>
                    <a:pt x="215" y="116"/>
                  </a:lnTo>
                  <a:lnTo>
                    <a:pt x="215" y="0"/>
                  </a:lnTo>
                  <a:lnTo>
                    <a:pt x="45" y="0"/>
                  </a:lnTo>
                  <a:lnTo>
                    <a:pt x="45" y="11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49" name="任意多边形: 形状 1548"/>
            <p:cNvSpPr/>
            <p:nvPr>
              <p:custDataLst>
                <p:tags r:id="rId141"/>
              </p:custDataLst>
            </p:nvPr>
          </p:nvSpPr>
          <p:spPr bwMode="auto">
            <a:xfrm flipH="1">
              <a:off x="2516344" y="3750305"/>
              <a:ext cx="325505" cy="306898"/>
            </a:xfrm>
            <a:custGeom>
              <a:avLst/>
              <a:gdLst>
                <a:gd name="T0" fmla="*/ 76 w 151"/>
                <a:gd name="T1" fmla="*/ 151 h 151"/>
                <a:gd name="T2" fmla="*/ 151 w 151"/>
                <a:gd name="T3" fmla="*/ 75 h 151"/>
                <a:gd name="T4" fmla="*/ 76 w 151"/>
                <a:gd name="T5" fmla="*/ 0 h 151"/>
                <a:gd name="T6" fmla="*/ 76 w 151"/>
                <a:gd name="T7" fmla="*/ 8 h 151"/>
                <a:gd name="T8" fmla="*/ 82 w 151"/>
                <a:gd name="T9" fmla="*/ 8 h 151"/>
                <a:gd name="T10" fmla="*/ 82 w 151"/>
                <a:gd name="T11" fmla="*/ 75 h 151"/>
                <a:gd name="T12" fmla="*/ 76 w 151"/>
                <a:gd name="T13" fmla="*/ 75 h 151"/>
                <a:gd name="T14" fmla="*/ 76 w 151"/>
                <a:gd name="T15" fmla="*/ 123 h 151"/>
                <a:gd name="T16" fmla="*/ 124 w 151"/>
                <a:gd name="T17" fmla="*/ 75 h 151"/>
                <a:gd name="T18" fmla="*/ 98 w 151"/>
                <a:gd name="T19" fmla="*/ 32 h 151"/>
                <a:gd name="T20" fmla="*/ 103 w 151"/>
                <a:gd name="T21" fmla="*/ 21 h 151"/>
                <a:gd name="T22" fmla="*/ 136 w 151"/>
                <a:gd name="T23" fmla="*/ 75 h 151"/>
                <a:gd name="T24" fmla="*/ 76 w 151"/>
                <a:gd name="T25" fmla="*/ 135 h 151"/>
                <a:gd name="T26" fmla="*/ 76 w 151"/>
                <a:gd name="T27" fmla="*/ 151 h 151"/>
                <a:gd name="T28" fmla="*/ 76 w 151"/>
                <a:gd name="T29" fmla="*/ 135 h 151"/>
                <a:gd name="T30" fmla="*/ 76 w 151"/>
                <a:gd name="T31" fmla="*/ 135 h 151"/>
                <a:gd name="T32" fmla="*/ 76 w 151"/>
                <a:gd name="T33" fmla="*/ 0 h 151"/>
                <a:gd name="T34" fmla="*/ 0 w 151"/>
                <a:gd name="T35" fmla="*/ 75 h 151"/>
                <a:gd name="T36" fmla="*/ 76 w 151"/>
                <a:gd name="T37" fmla="*/ 151 h 151"/>
                <a:gd name="T38" fmla="*/ 76 w 151"/>
                <a:gd name="T39" fmla="*/ 135 h 151"/>
                <a:gd name="T40" fmla="*/ 76 w 151"/>
                <a:gd name="T41" fmla="*/ 135 h 151"/>
                <a:gd name="T42" fmla="*/ 15 w 151"/>
                <a:gd name="T43" fmla="*/ 75 h 151"/>
                <a:gd name="T44" fmla="*/ 49 w 151"/>
                <a:gd name="T45" fmla="*/ 21 h 151"/>
                <a:gd name="T46" fmla="*/ 54 w 151"/>
                <a:gd name="T47" fmla="*/ 32 h 151"/>
                <a:gd name="T48" fmla="*/ 28 w 151"/>
                <a:gd name="T49" fmla="*/ 75 h 151"/>
                <a:gd name="T50" fmla="*/ 76 w 151"/>
                <a:gd name="T51" fmla="*/ 123 h 151"/>
                <a:gd name="T52" fmla="*/ 76 w 151"/>
                <a:gd name="T53" fmla="*/ 75 h 151"/>
                <a:gd name="T54" fmla="*/ 70 w 151"/>
                <a:gd name="T55" fmla="*/ 75 h 151"/>
                <a:gd name="T56" fmla="*/ 70 w 151"/>
                <a:gd name="T57" fmla="*/ 8 h 151"/>
                <a:gd name="T58" fmla="*/ 70 w 151"/>
                <a:gd name="T59" fmla="*/ 8 h 151"/>
                <a:gd name="T60" fmla="*/ 76 w 151"/>
                <a:gd name="T61" fmla="*/ 8 h 151"/>
                <a:gd name="T62" fmla="*/ 76 w 151"/>
                <a:gd name="T63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1">
                  <a:moveTo>
                    <a:pt x="76" y="151"/>
                  </a:moveTo>
                  <a:cubicBezTo>
                    <a:pt x="118" y="151"/>
                    <a:pt x="151" y="117"/>
                    <a:pt x="151" y="75"/>
                  </a:cubicBezTo>
                  <a:cubicBezTo>
                    <a:pt x="151" y="33"/>
                    <a:pt x="118" y="0"/>
                    <a:pt x="76" y="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123"/>
                    <a:pt x="76" y="123"/>
                    <a:pt x="76" y="123"/>
                  </a:cubicBezTo>
                  <a:cubicBezTo>
                    <a:pt x="102" y="123"/>
                    <a:pt x="124" y="101"/>
                    <a:pt x="124" y="75"/>
                  </a:cubicBezTo>
                  <a:cubicBezTo>
                    <a:pt x="124" y="57"/>
                    <a:pt x="114" y="41"/>
                    <a:pt x="98" y="32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24" y="32"/>
                    <a:pt x="136" y="52"/>
                    <a:pt x="136" y="75"/>
                  </a:cubicBezTo>
                  <a:cubicBezTo>
                    <a:pt x="136" y="108"/>
                    <a:pt x="109" y="135"/>
                    <a:pt x="76" y="135"/>
                  </a:cubicBezTo>
                  <a:cubicBezTo>
                    <a:pt x="76" y="151"/>
                    <a:pt x="76" y="151"/>
                    <a:pt x="76" y="151"/>
                  </a:cubicBezTo>
                  <a:close/>
                  <a:moveTo>
                    <a:pt x="76" y="135"/>
                  </a:moveTo>
                  <a:cubicBezTo>
                    <a:pt x="76" y="135"/>
                    <a:pt x="76" y="135"/>
                    <a:pt x="76" y="135"/>
                  </a:cubicBezTo>
                  <a:moveTo>
                    <a:pt x="76" y="0"/>
                  </a:moveTo>
                  <a:cubicBezTo>
                    <a:pt x="34" y="0"/>
                    <a:pt x="0" y="33"/>
                    <a:pt x="0" y="75"/>
                  </a:cubicBezTo>
                  <a:cubicBezTo>
                    <a:pt x="0" y="117"/>
                    <a:pt x="34" y="151"/>
                    <a:pt x="76" y="151"/>
                  </a:cubicBezTo>
                  <a:cubicBezTo>
                    <a:pt x="76" y="135"/>
                    <a:pt x="76" y="135"/>
                    <a:pt x="76" y="135"/>
                  </a:cubicBezTo>
                  <a:cubicBezTo>
                    <a:pt x="76" y="135"/>
                    <a:pt x="76" y="135"/>
                    <a:pt x="76" y="135"/>
                  </a:cubicBezTo>
                  <a:cubicBezTo>
                    <a:pt x="43" y="135"/>
                    <a:pt x="15" y="108"/>
                    <a:pt x="15" y="75"/>
                  </a:cubicBezTo>
                  <a:cubicBezTo>
                    <a:pt x="15" y="52"/>
                    <a:pt x="28" y="32"/>
                    <a:pt x="49" y="2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38" y="41"/>
                    <a:pt x="28" y="57"/>
                    <a:pt x="28" y="75"/>
                  </a:cubicBezTo>
                  <a:cubicBezTo>
                    <a:pt x="28" y="101"/>
                    <a:pt x="49" y="123"/>
                    <a:pt x="76" y="123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6" y="8"/>
                    <a:pt x="76" y="8"/>
                    <a:pt x="76" y="8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0" name="椭圆 1549"/>
            <p:cNvSpPr/>
            <p:nvPr>
              <p:custDataLst>
                <p:tags r:id="rId142"/>
              </p:custDataLst>
            </p:nvPr>
          </p:nvSpPr>
          <p:spPr bwMode="auto">
            <a:xfrm flipH="1">
              <a:off x="2576523" y="5285655"/>
              <a:ext cx="94825" cy="8940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1" name="任意多边形: 形状 1550"/>
            <p:cNvSpPr/>
            <p:nvPr>
              <p:custDataLst>
                <p:tags r:id="rId143"/>
              </p:custDataLst>
            </p:nvPr>
          </p:nvSpPr>
          <p:spPr bwMode="auto">
            <a:xfrm flipH="1">
              <a:off x="2535492" y="5242671"/>
              <a:ext cx="179621" cy="248442"/>
            </a:xfrm>
            <a:custGeom>
              <a:avLst/>
              <a:gdLst>
                <a:gd name="T0" fmla="*/ 83 w 83"/>
                <a:gd name="T1" fmla="*/ 0 h 122"/>
                <a:gd name="T2" fmla="*/ 42 w 83"/>
                <a:gd name="T3" fmla="*/ 0 h 122"/>
                <a:gd name="T4" fmla="*/ 42 w 83"/>
                <a:gd name="T5" fmla="*/ 10 h 122"/>
                <a:gd name="T6" fmla="*/ 42 w 83"/>
                <a:gd name="T7" fmla="*/ 10 h 122"/>
                <a:gd name="T8" fmla="*/ 74 w 83"/>
                <a:gd name="T9" fmla="*/ 43 h 122"/>
                <a:gd name="T10" fmla="*/ 42 w 83"/>
                <a:gd name="T11" fmla="*/ 75 h 122"/>
                <a:gd name="T12" fmla="*/ 42 w 83"/>
                <a:gd name="T13" fmla="*/ 75 h 122"/>
                <a:gd name="T14" fmla="*/ 42 w 83"/>
                <a:gd name="T15" fmla="*/ 75 h 122"/>
                <a:gd name="T16" fmla="*/ 42 w 83"/>
                <a:gd name="T17" fmla="*/ 89 h 122"/>
                <a:gd name="T18" fmla="*/ 42 w 83"/>
                <a:gd name="T19" fmla="*/ 89 h 122"/>
                <a:gd name="T20" fmla="*/ 53 w 83"/>
                <a:gd name="T21" fmla="*/ 100 h 122"/>
                <a:gd name="T22" fmla="*/ 42 w 83"/>
                <a:gd name="T23" fmla="*/ 111 h 122"/>
                <a:gd name="T24" fmla="*/ 42 w 83"/>
                <a:gd name="T25" fmla="*/ 111 h 122"/>
                <a:gd name="T26" fmla="*/ 42 w 83"/>
                <a:gd name="T27" fmla="*/ 111 h 122"/>
                <a:gd name="T28" fmla="*/ 42 w 83"/>
                <a:gd name="T29" fmla="*/ 122 h 122"/>
                <a:gd name="T30" fmla="*/ 83 w 83"/>
                <a:gd name="T31" fmla="*/ 122 h 122"/>
                <a:gd name="T32" fmla="*/ 83 w 83"/>
                <a:gd name="T33" fmla="*/ 0 h 122"/>
                <a:gd name="T34" fmla="*/ 42 w 83"/>
                <a:gd name="T35" fmla="*/ 0 h 122"/>
                <a:gd name="T36" fmla="*/ 0 w 83"/>
                <a:gd name="T37" fmla="*/ 0 h 122"/>
                <a:gd name="T38" fmla="*/ 0 w 83"/>
                <a:gd name="T39" fmla="*/ 122 h 122"/>
                <a:gd name="T40" fmla="*/ 42 w 83"/>
                <a:gd name="T41" fmla="*/ 122 h 122"/>
                <a:gd name="T42" fmla="*/ 42 w 83"/>
                <a:gd name="T43" fmla="*/ 111 h 122"/>
                <a:gd name="T44" fmla="*/ 31 w 83"/>
                <a:gd name="T45" fmla="*/ 100 h 122"/>
                <a:gd name="T46" fmla="*/ 42 w 83"/>
                <a:gd name="T47" fmla="*/ 89 h 122"/>
                <a:gd name="T48" fmla="*/ 42 w 83"/>
                <a:gd name="T49" fmla="*/ 75 h 122"/>
                <a:gd name="T50" fmla="*/ 10 w 83"/>
                <a:gd name="T51" fmla="*/ 43 h 122"/>
                <a:gd name="T52" fmla="*/ 42 w 83"/>
                <a:gd name="T53" fmla="*/ 10 h 122"/>
                <a:gd name="T54" fmla="*/ 42 w 83"/>
                <a:gd name="T5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122">
                  <a:moveTo>
                    <a:pt x="83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60" y="10"/>
                    <a:pt x="74" y="25"/>
                    <a:pt x="74" y="43"/>
                  </a:cubicBezTo>
                  <a:cubicBezTo>
                    <a:pt x="74" y="60"/>
                    <a:pt x="60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89"/>
                    <a:pt x="53" y="94"/>
                    <a:pt x="53" y="100"/>
                  </a:cubicBezTo>
                  <a:cubicBezTo>
                    <a:pt x="53" y="106"/>
                    <a:pt x="48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83" y="122"/>
                    <a:pt x="83" y="122"/>
                    <a:pt x="83" y="122"/>
                  </a:cubicBezTo>
                  <a:lnTo>
                    <a:pt x="83" y="0"/>
                  </a:lnTo>
                  <a:close/>
                  <a:moveTo>
                    <a:pt x="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36" y="111"/>
                    <a:pt x="31" y="106"/>
                    <a:pt x="31" y="100"/>
                  </a:cubicBezTo>
                  <a:cubicBezTo>
                    <a:pt x="31" y="94"/>
                    <a:pt x="36" y="89"/>
                    <a:pt x="42" y="89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24" y="75"/>
                    <a:pt x="10" y="60"/>
                    <a:pt x="10" y="43"/>
                  </a:cubicBezTo>
                  <a:cubicBezTo>
                    <a:pt x="10" y="25"/>
                    <a:pt x="24" y="10"/>
                    <a:pt x="42" y="10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2" name="任意多边形: 形状 1551"/>
            <p:cNvSpPr/>
            <p:nvPr>
              <p:custDataLst>
                <p:tags r:id="rId144"/>
              </p:custDataLst>
            </p:nvPr>
          </p:nvSpPr>
          <p:spPr bwMode="auto">
            <a:xfrm flipH="1">
              <a:off x="2861909" y="5216023"/>
              <a:ext cx="36471" cy="16334"/>
            </a:xfrm>
            <a:custGeom>
              <a:avLst/>
              <a:gdLst>
                <a:gd name="T0" fmla="*/ 17 w 17"/>
                <a:gd name="T1" fmla="*/ 6 h 8"/>
                <a:gd name="T2" fmla="*/ 10 w 17"/>
                <a:gd name="T3" fmla="*/ 0 h 8"/>
                <a:gd name="T4" fmla="*/ 7 w 17"/>
                <a:gd name="T5" fmla="*/ 0 h 8"/>
                <a:gd name="T6" fmla="*/ 0 w 17"/>
                <a:gd name="T7" fmla="*/ 6 h 8"/>
                <a:gd name="T8" fmla="*/ 0 w 17"/>
                <a:gd name="T9" fmla="*/ 8 h 8"/>
                <a:gd name="T10" fmla="*/ 16 w 17"/>
                <a:gd name="T11" fmla="*/ 8 h 8"/>
                <a:gd name="T12" fmla="*/ 17 w 17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8">
                  <a:moveTo>
                    <a:pt x="17" y="6"/>
                  </a:moveTo>
                  <a:cubicBezTo>
                    <a:pt x="17" y="3"/>
                    <a:pt x="14" y="0"/>
                    <a:pt x="1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7"/>
                    <a:pt x="17" y="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3" name="任意多边形: 形状 1552"/>
            <p:cNvSpPr/>
            <p:nvPr>
              <p:custDataLst>
                <p:tags r:id="rId145"/>
              </p:custDataLst>
            </p:nvPr>
          </p:nvSpPr>
          <p:spPr bwMode="auto">
            <a:xfrm flipH="1">
              <a:off x="2740643" y="5242671"/>
              <a:ext cx="178709" cy="248442"/>
            </a:xfrm>
            <a:custGeom>
              <a:avLst/>
              <a:gdLst>
                <a:gd name="T0" fmla="*/ 42 w 83"/>
                <a:gd name="T1" fmla="*/ 122 h 122"/>
                <a:gd name="T2" fmla="*/ 83 w 83"/>
                <a:gd name="T3" fmla="*/ 122 h 122"/>
                <a:gd name="T4" fmla="*/ 83 w 83"/>
                <a:gd name="T5" fmla="*/ 0 h 122"/>
                <a:gd name="T6" fmla="*/ 42 w 83"/>
                <a:gd name="T7" fmla="*/ 0 h 122"/>
                <a:gd name="T8" fmla="*/ 42 w 83"/>
                <a:gd name="T9" fmla="*/ 10 h 122"/>
                <a:gd name="T10" fmla="*/ 42 w 83"/>
                <a:gd name="T11" fmla="*/ 10 h 122"/>
                <a:gd name="T12" fmla="*/ 42 w 83"/>
                <a:gd name="T13" fmla="*/ 10 h 122"/>
                <a:gd name="T14" fmla="*/ 74 w 83"/>
                <a:gd name="T15" fmla="*/ 43 h 122"/>
                <a:gd name="T16" fmla="*/ 42 w 83"/>
                <a:gd name="T17" fmla="*/ 75 h 122"/>
                <a:gd name="T18" fmla="*/ 42 w 83"/>
                <a:gd name="T19" fmla="*/ 75 h 122"/>
                <a:gd name="T20" fmla="*/ 42 w 83"/>
                <a:gd name="T21" fmla="*/ 89 h 122"/>
                <a:gd name="T22" fmla="*/ 42 w 83"/>
                <a:gd name="T23" fmla="*/ 89 h 122"/>
                <a:gd name="T24" fmla="*/ 53 w 83"/>
                <a:gd name="T25" fmla="*/ 100 h 122"/>
                <a:gd name="T26" fmla="*/ 42 w 83"/>
                <a:gd name="T27" fmla="*/ 111 h 122"/>
                <a:gd name="T28" fmla="*/ 42 w 83"/>
                <a:gd name="T29" fmla="*/ 111 h 122"/>
                <a:gd name="T30" fmla="*/ 42 w 83"/>
                <a:gd name="T31" fmla="*/ 111 h 122"/>
                <a:gd name="T32" fmla="*/ 42 w 83"/>
                <a:gd name="T33" fmla="*/ 122 h 122"/>
                <a:gd name="T34" fmla="*/ 0 w 83"/>
                <a:gd name="T35" fmla="*/ 122 h 122"/>
                <a:gd name="T36" fmla="*/ 42 w 83"/>
                <a:gd name="T37" fmla="*/ 122 h 122"/>
                <a:gd name="T38" fmla="*/ 42 w 83"/>
                <a:gd name="T39" fmla="*/ 111 h 122"/>
                <a:gd name="T40" fmla="*/ 31 w 83"/>
                <a:gd name="T41" fmla="*/ 100 h 122"/>
                <a:gd name="T42" fmla="*/ 42 w 83"/>
                <a:gd name="T43" fmla="*/ 89 h 122"/>
                <a:gd name="T44" fmla="*/ 42 w 83"/>
                <a:gd name="T45" fmla="*/ 75 h 122"/>
                <a:gd name="T46" fmla="*/ 9 w 83"/>
                <a:gd name="T47" fmla="*/ 43 h 122"/>
                <a:gd name="T48" fmla="*/ 42 w 83"/>
                <a:gd name="T49" fmla="*/ 10 h 122"/>
                <a:gd name="T50" fmla="*/ 42 w 83"/>
                <a:gd name="T51" fmla="*/ 0 h 122"/>
                <a:gd name="T52" fmla="*/ 20 w 83"/>
                <a:gd name="T53" fmla="*/ 0 h 122"/>
                <a:gd name="T54" fmla="*/ 16 w 83"/>
                <a:gd name="T55" fmla="*/ 0 h 122"/>
                <a:gd name="T56" fmla="*/ 0 w 83"/>
                <a:gd name="T57" fmla="*/ 0 h 122"/>
                <a:gd name="T58" fmla="*/ 0 w 83"/>
                <a:gd name="T5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3" h="122">
                  <a:moveTo>
                    <a:pt x="42" y="122"/>
                  </a:moveTo>
                  <a:cubicBezTo>
                    <a:pt x="83" y="122"/>
                    <a:pt x="83" y="122"/>
                    <a:pt x="83" y="12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60" y="10"/>
                    <a:pt x="74" y="25"/>
                    <a:pt x="74" y="43"/>
                  </a:cubicBezTo>
                  <a:cubicBezTo>
                    <a:pt x="74" y="60"/>
                    <a:pt x="60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89"/>
                    <a:pt x="53" y="94"/>
                    <a:pt x="53" y="100"/>
                  </a:cubicBezTo>
                  <a:cubicBezTo>
                    <a:pt x="53" y="106"/>
                    <a:pt x="48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lnTo>
                    <a:pt x="42" y="122"/>
                  </a:lnTo>
                  <a:close/>
                  <a:moveTo>
                    <a:pt x="0" y="122"/>
                  </a:moveTo>
                  <a:cubicBezTo>
                    <a:pt x="42" y="122"/>
                    <a:pt x="42" y="122"/>
                    <a:pt x="42" y="12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36" y="111"/>
                    <a:pt x="31" y="106"/>
                    <a:pt x="31" y="100"/>
                  </a:cubicBezTo>
                  <a:cubicBezTo>
                    <a:pt x="31" y="94"/>
                    <a:pt x="36" y="89"/>
                    <a:pt x="42" y="89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24" y="75"/>
                    <a:pt x="9" y="60"/>
                    <a:pt x="9" y="43"/>
                  </a:cubicBezTo>
                  <a:cubicBezTo>
                    <a:pt x="9" y="25"/>
                    <a:pt x="24" y="10"/>
                    <a:pt x="42" y="1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2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4" name="椭圆 1553"/>
            <p:cNvSpPr/>
            <p:nvPr>
              <p:custDataLst>
                <p:tags r:id="rId146"/>
              </p:custDataLst>
            </p:nvPr>
          </p:nvSpPr>
          <p:spPr bwMode="auto">
            <a:xfrm flipH="1">
              <a:off x="2781672" y="5285655"/>
              <a:ext cx="94825" cy="89403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5" name="任意多边形: 形状 1554"/>
            <p:cNvSpPr/>
            <p:nvPr>
              <p:custDataLst>
                <p:tags r:id="rId147"/>
              </p:custDataLst>
            </p:nvPr>
          </p:nvSpPr>
          <p:spPr bwMode="auto">
            <a:xfrm flipH="1">
              <a:off x="3903160" y="3935131"/>
              <a:ext cx="323682" cy="284547"/>
            </a:xfrm>
            <a:custGeom>
              <a:avLst/>
              <a:gdLst>
                <a:gd name="T0" fmla="*/ 141 w 150"/>
                <a:gd name="T1" fmla="*/ 140 h 140"/>
                <a:gd name="T2" fmla="*/ 141 w 150"/>
                <a:gd name="T3" fmla="*/ 129 h 140"/>
                <a:gd name="T4" fmla="*/ 150 w 150"/>
                <a:gd name="T5" fmla="*/ 22 h 140"/>
                <a:gd name="T6" fmla="*/ 131 w 150"/>
                <a:gd name="T7" fmla="*/ 38 h 140"/>
                <a:gd name="T8" fmla="*/ 131 w 150"/>
                <a:gd name="T9" fmla="*/ 55 h 140"/>
                <a:gd name="T10" fmla="*/ 131 w 150"/>
                <a:gd name="T11" fmla="*/ 67 h 140"/>
                <a:gd name="T12" fmla="*/ 131 w 150"/>
                <a:gd name="T13" fmla="*/ 84 h 140"/>
                <a:gd name="T14" fmla="*/ 65 w 150"/>
                <a:gd name="T15" fmla="*/ 7 h 140"/>
                <a:gd name="T16" fmla="*/ 63 w 150"/>
                <a:gd name="T17" fmla="*/ 9 h 140"/>
                <a:gd name="T18" fmla="*/ 63 w 150"/>
                <a:gd name="T19" fmla="*/ 129 h 140"/>
                <a:gd name="T20" fmla="*/ 122 w 150"/>
                <a:gd name="T21" fmla="*/ 129 h 140"/>
                <a:gd name="T22" fmla="*/ 131 w 150"/>
                <a:gd name="T23" fmla="*/ 140 h 140"/>
                <a:gd name="T24" fmla="*/ 123 w 150"/>
                <a:gd name="T25" fmla="*/ 75 h 140"/>
                <a:gd name="T26" fmla="*/ 131 w 150"/>
                <a:gd name="T27" fmla="*/ 55 h 140"/>
                <a:gd name="T28" fmla="*/ 123 w 150"/>
                <a:gd name="T29" fmla="*/ 47 h 140"/>
                <a:gd name="T30" fmla="*/ 131 w 150"/>
                <a:gd name="T31" fmla="*/ 22 h 140"/>
                <a:gd name="T32" fmla="*/ 63 w 150"/>
                <a:gd name="T33" fmla="*/ 35 h 140"/>
                <a:gd name="T34" fmla="*/ 108 w 150"/>
                <a:gd name="T35" fmla="*/ 115 h 140"/>
                <a:gd name="T36" fmla="*/ 63 w 150"/>
                <a:gd name="T37" fmla="*/ 115 h 140"/>
                <a:gd name="T38" fmla="*/ 131 w 150"/>
                <a:gd name="T39" fmla="*/ 67 h 140"/>
                <a:gd name="T40" fmla="*/ 63 w 150"/>
                <a:gd name="T41" fmla="*/ 5 h 140"/>
                <a:gd name="T42" fmla="*/ 33 w 150"/>
                <a:gd name="T43" fmla="*/ 20 h 140"/>
                <a:gd name="T44" fmla="*/ 0 w 150"/>
                <a:gd name="T45" fmla="*/ 7 h 140"/>
                <a:gd name="T46" fmla="*/ 20 w 150"/>
                <a:gd name="T47" fmla="*/ 22 h 140"/>
                <a:gd name="T48" fmla="*/ 3 w 150"/>
                <a:gd name="T49" fmla="*/ 129 h 140"/>
                <a:gd name="T50" fmla="*/ 14 w 150"/>
                <a:gd name="T51" fmla="*/ 129 h 140"/>
                <a:gd name="T52" fmla="*/ 33 w 150"/>
                <a:gd name="T53" fmla="*/ 140 h 140"/>
                <a:gd name="T54" fmla="*/ 33 w 150"/>
                <a:gd name="T55" fmla="*/ 129 h 140"/>
                <a:gd name="T56" fmla="*/ 63 w 150"/>
                <a:gd name="T57" fmla="*/ 115 h 140"/>
                <a:gd name="T58" fmla="*/ 17 w 150"/>
                <a:gd name="T59" fmla="*/ 35 h 140"/>
                <a:gd name="T60" fmla="*/ 63 w 150"/>
                <a:gd name="T61" fmla="*/ 22 h 140"/>
                <a:gd name="T62" fmla="*/ 46 w 150"/>
                <a:gd name="T63" fmla="*/ 21 h 140"/>
                <a:gd name="T64" fmla="*/ 63 w 150"/>
                <a:gd name="T65" fmla="*/ 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0" h="140">
                  <a:moveTo>
                    <a:pt x="131" y="140"/>
                  </a:moveTo>
                  <a:cubicBezTo>
                    <a:pt x="141" y="140"/>
                    <a:pt x="141" y="140"/>
                    <a:pt x="141" y="140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50" y="129"/>
                    <a:pt x="150" y="129"/>
                    <a:pt x="150" y="129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6" y="38"/>
                    <a:pt x="140" y="42"/>
                    <a:pt x="140" y="47"/>
                  </a:cubicBezTo>
                  <a:cubicBezTo>
                    <a:pt x="140" y="51"/>
                    <a:pt x="136" y="55"/>
                    <a:pt x="131" y="55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6" y="67"/>
                    <a:pt x="140" y="71"/>
                    <a:pt x="140" y="75"/>
                  </a:cubicBezTo>
                  <a:cubicBezTo>
                    <a:pt x="140" y="80"/>
                    <a:pt x="136" y="84"/>
                    <a:pt x="131" y="84"/>
                  </a:cubicBezTo>
                  <a:lnTo>
                    <a:pt x="131" y="140"/>
                  </a:lnTo>
                  <a:close/>
                  <a:moveTo>
                    <a:pt x="65" y="7"/>
                  </a:moveTo>
                  <a:cubicBezTo>
                    <a:pt x="63" y="5"/>
                    <a:pt x="63" y="5"/>
                    <a:pt x="63" y="5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5" y="7"/>
                    <a:pt x="65" y="7"/>
                    <a:pt x="65" y="7"/>
                  </a:cubicBezTo>
                  <a:close/>
                  <a:moveTo>
                    <a:pt x="63" y="129"/>
                  </a:moveTo>
                  <a:cubicBezTo>
                    <a:pt x="122" y="129"/>
                    <a:pt x="122" y="129"/>
                    <a:pt x="122" y="129"/>
                  </a:cubicBezTo>
                  <a:cubicBezTo>
                    <a:pt x="122" y="129"/>
                    <a:pt x="122" y="129"/>
                    <a:pt x="122" y="129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27" y="84"/>
                    <a:pt x="123" y="80"/>
                    <a:pt x="123" y="75"/>
                  </a:cubicBezTo>
                  <a:cubicBezTo>
                    <a:pt x="123" y="71"/>
                    <a:pt x="127" y="67"/>
                    <a:pt x="131" y="67"/>
                  </a:cubicBezTo>
                  <a:cubicBezTo>
                    <a:pt x="131" y="55"/>
                    <a:pt x="131" y="55"/>
                    <a:pt x="131" y="55"/>
                  </a:cubicBezTo>
                  <a:cubicBezTo>
                    <a:pt x="127" y="55"/>
                    <a:pt x="123" y="51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2"/>
                    <a:pt x="127" y="38"/>
                    <a:pt x="131" y="38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63" y="129"/>
                    <a:pt x="63" y="129"/>
                    <a:pt x="63" y="129"/>
                  </a:cubicBezTo>
                  <a:close/>
                  <a:moveTo>
                    <a:pt x="131" y="67"/>
                  </a:moveTo>
                  <a:cubicBezTo>
                    <a:pt x="131" y="67"/>
                    <a:pt x="131" y="67"/>
                    <a:pt x="131" y="67"/>
                  </a:cubicBezTo>
                  <a:moveTo>
                    <a:pt x="63" y="5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129"/>
                    <a:pt x="3" y="129"/>
                    <a:pt x="3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33" y="140"/>
                    <a:pt x="33" y="140"/>
                    <a:pt x="33" y="140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63" y="9"/>
                    <a:pt x="63" y="9"/>
                    <a:pt x="63" y="9"/>
                  </a:cubicBezTo>
                  <a:lnTo>
                    <a:pt x="63" y="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6" name="任意多边形: 形状 1555"/>
            <p:cNvSpPr/>
            <p:nvPr>
              <p:custDataLst>
                <p:tags r:id="rId148"/>
              </p:custDataLst>
            </p:nvPr>
          </p:nvSpPr>
          <p:spPr bwMode="auto">
            <a:xfrm flipH="1">
              <a:off x="3875807" y="1598580"/>
              <a:ext cx="34648" cy="30948"/>
            </a:xfrm>
            <a:custGeom>
              <a:avLst/>
              <a:gdLst>
                <a:gd name="T0" fmla="*/ 0 w 16"/>
                <a:gd name="T1" fmla="*/ 8 h 15"/>
                <a:gd name="T2" fmla="*/ 3 w 16"/>
                <a:gd name="T3" fmla="*/ 10 h 15"/>
                <a:gd name="T4" fmla="*/ 11 w 16"/>
                <a:gd name="T5" fmla="*/ 15 h 15"/>
                <a:gd name="T6" fmla="*/ 16 w 16"/>
                <a:gd name="T7" fmla="*/ 6 h 15"/>
                <a:gd name="T8" fmla="*/ 4 w 16"/>
                <a:gd name="T9" fmla="*/ 0 h 15"/>
                <a:gd name="T10" fmla="*/ 0 w 16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5">
                  <a:moveTo>
                    <a:pt x="0" y="8"/>
                  </a:moveTo>
                  <a:cubicBezTo>
                    <a:pt x="1" y="8"/>
                    <a:pt x="2" y="9"/>
                    <a:pt x="3" y="10"/>
                  </a:cubicBezTo>
                  <a:cubicBezTo>
                    <a:pt x="6" y="11"/>
                    <a:pt x="9" y="13"/>
                    <a:pt x="11" y="1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7" name="任意多边形: 形状 1556"/>
            <p:cNvSpPr/>
            <p:nvPr>
              <p:custDataLst>
                <p:tags r:id="rId149"/>
              </p:custDataLst>
            </p:nvPr>
          </p:nvSpPr>
          <p:spPr bwMode="auto">
            <a:xfrm flipH="1">
              <a:off x="3978838" y="1778249"/>
              <a:ext cx="179621" cy="123791"/>
            </a:xfrm>
            <a:custGeom>
              <a:avLst/>
              <a:gdLst>
                <a:gd name="T0" fmla="*/ 21 w 83"/>
                <a:gd name="T1" fmla="*/ 58 h 61"/>
                <a:gd name="T2" fmla="*/ 36 w 83"/>
                <a:gd name="T3" fmla="*/ 61 h 61"/>
                <a:gd name="T4" fmla="*/ 45 w 83"/>
                <a:gd name="T5" fmla="*/ 60 h 61"/>
                <a:gd name="T6" fmla="*/ 64 w 83"/>
                <a:gd name="T7" fmla="*/ 45 h 61"/>
                <a:gd name="T8" fmla="*/ 83 w 83"/>
                <a:gd name="T9" fmla="*/ 9 h 61"/>
                <a:gd name="T10" fmla="*/ 76 w 83"/>
                <a:gd name="T11" fmla="*/ 2 h 61"/>
                <a:gd name="T12" fmla="*/ 72 w 83"/>
                <a:gd name="T13" fmla="*/ 0 h 61"/>
                <a:gd name="T14" fmla="*/ 52 w 83"/>
                <a:gd name="T15" fmla="*/ 38 h 61"/>
                <a:gd name="T16" fmla="*/ 27 w 83"/>
                <a:gd name="T17" fmla="*/ 46 h 61"/>
                <a:gd name="T18" fmla="*/ 20 w 83"/>
                <a:gd name="T19" fmla="*/ 21 h 61"/>
                <a:gd name="T20" fmla="*/ 8 w 83"/>
                <a:gd name="T21" fmla="*/ 15 h 61"/>
                <a:gd name="T22" fmla="*/ 21 w 83"/>
                <a:gd name="T23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61">
                  <a:moveTo>
                    <a:pt x="21" y="58"/>
                  </a:moveTo>
                  <a:cubicBezTo>
                    <a:pt x="26" y="60"/>
                    <a:pt x="31" y="61"/>
                    <a:pt x="36" y="61"/>
                  </a:cubicBezTo>
                  <a:cubicBezTo>
                    <a:pt x="39" y="61"/>
                    <a:pt x="42" y="61"/>
                    <a:pt x="45" y="60"/>
                  </a:cubicBezTo>
                  <a:cubicBezTo>
                    <a:pt x="53" y="57"/>
                    <a:pt x="60" y="52"/>
                    <a:pt x="64" y="45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1" y="6"/>
                    <a:pt x="79" y="3"/>
                    <a:pt x="76" y="2"/>
                  </a:cubicBezTo>
                  <a:cubicBezTo>
                    <a:pt x="74" y="1"/>
                    <a:pt x="73" y="1"/>
                    <a:pt x="72" y="0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47" y="47"/>
                    <a:pt x="36" y="51"/>
                    <a:pt x="27" y="46"/>
                  </a:cubicBezTo>
                  <a:cubicBezTo>
                    <a:pt x="19" y="41"/>
                    <a:pt x="15" y="30"/>
                    <a:pt x="20" y="2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0" y="30"/>
                    <a:pt x="6" y="50"/>
                    <a:pt x="21" y="5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8" name="任意多边形: 形状 1557"/>
            <p:cNvSpPr/>
            <p:nvPr>
              <p:custDataLst>
                <p:tags r:id="rId150"/>
              </p:custDataLst>
            </p:nvPr>
          </p:nvSpPr>
          <p:spPr bwMode="auto">
            <a:xfrm flipH="1">
              <a:off x="3812894" y="1611475"/>
              <a:ext cx="310917" cy="245862"/>
            </a:xfrm>
            <a:custGeom>
              <a:avLst/>
              <a:gdLst>
                <a:gd name="T0" fmla="*/ 108 w 144"/>
                <a:gd name="T1" fmla="*/ 13 h 121"/>
                <a:gd name="T2" fmla="*/ 100 w 144"/>
                <a:gd name="T3" fmla="*/ 7 h 121"/>
                <a:gd name="T4" fmla="*/ 97 w 144"/>
                <a:gd name="T5" fmla="*/ 6 h 121"/>
                <a:gd name="T6" fmla="*/ 68 w 144"/>
                <a:gd name="T7" fmla="*/ 0 h 121"/>
                <a:gd name="T8" fmla="*/ 8 w 144"/>
                <a:gd name="T9" fmla="*/ 36 h 121"/>
                <a:gd name="T10" fmla="*/ 1 w 144"/>
                <a:gd name="T11" fmla="*/ 61 h 121"/>
                <a:gd name="T12" fmla="*/ 0 w 144"/>
                <a:gd name="T13" fmla="*/ 65 h 121"/>
                <a:gd name="T14" fmla="*/ 1 w 144"/>
                <a:gd name="T15" fmla="*/ 67 h 121"/>
                <a:gd name="T16" fmla="*/ 3 w 144"/>
                <a:gd name="T17" fmla="*/ 66 h 121"/>
                <a:gd name="T18" fmla="*/ 6 w 144"/>
                <a:gd name="T19" fmla="*/ 63 h 121"/>
                <a:gd name="T20" fmla="*/ 18 w 144"/>
                <a:gd name="T21" fmla="*/ 59 h 121"/>
                <a:gd name="T22" fmla="*/ 27 w 144"/>
                <a:gd name="T23" fmla="*/ 61 h 121"/>
                <a:gd name="T24" fmla="*/ 37 w 144"/>
                <a:gd name="T25" fmla="*/ 79 h 121"/>
                <a:gd name="T26" fmla="*/ 37 w 144"/>
                <a:gd name="T27" fmla="*/ 83 h 121"/>
                <a:gd name="T28" fmla="*/ 41 w 144"/>
                <a:gd name="T29" fmla="*/ 81 h 121"/>
                <a:gd name="T30" fmla="*/ 52 w 144"/>
                <a:gd name="T31" fmla="*/ 77 h 121"/>
                <a:gd name="T32" fmla="*/ 58 w 144"/>
                <a:gd name="T33" fmla="*/ 78 h 121"/>
                <a:gd name="T34" fmla="*/ 62 w 144"/>
                <a:gd name="T35" fmla="*/ 80 h 121"/>
                <a:gd name="T36" fmla="*/ 69 w 144"/>
                <a:gd name="T37" fmla="*/ 87 h 121"/>
                <a:gd name="T38" fmla="*/ 72 w 144"/>
                <a:gd name="T39" fmla="*/ 98 h 121"/>
                <a:gd name="T40" fmla="*/ 72 w 144"/>
                <a:gd name="T41" fmla="*/ 102 h 121"/>
                <a:gd name="T42" fmla="*/ 75 w 144"/>
                <a:gd name="T43" fmla="*/ 100 h 121"/>
                <a:gd name="T44" fmla="*/ 87 w 144"/>
                <a:gd name="T45" fmla="*/ 96 h 121"/>
                <a:gd name="T46" fmla="*/ 96 w 144"/>
                <a:gd name="T47" fmla="*/ 98 h 121"/>
                <a:gd name="T48" fmla="*/ 107 w 144"/>
                <a:gd name="T49" fmla="*/ 116 h 121"/>
                <a:gd name="T50" fmla="*/ 108 w 144"/>
                <a:gd name="T51" fmla="*/ 121 h 121"/>
                <a:gd name="T52" fmla="*/ 111 w 144"/>
                <a:gd name="T53" fmla="*/ 119 h 121"/>
                <a:gd name="T54" fmla="*/ 128 w 144"/>
                <a:gd name="T55" fmla="*/ 99 h 121"/>
                <a:gd name="T56" fmla="*/ 108 w 144"/>
                <a:gd name="T57" fmla="*/ 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4" h="121">
                  <a:moveTo>
                    <a:pt x="108" y="13"/>
                  </a:moveTo>
                  <a:cubicBezTo>
                    <a:pt x="106" y="11"/>
                    <a:pt x="103" y="9"/>
                    <a:pt x="100" y="7"/>
                  </a:cubicBezTo>
                  <a:cubicBezTo>
                    <a:pt x="99" y="7"/>
                    <a:pt x="98" y="6"/>
                    <a:pt x="97" y="6"/>
                  </a:cubicBezTo>
                  <a:cubicBezTo>
                    <a:pt x="88" y="2"/>
                    <a:pt x="78" y="0"/>
                    <a:pt x="68" y="0"/>
                  </a:cubicBezTo>
                  <a:cubicBezTo>
                    <a:pt x="44" y="0"/>
                    <a:pt x="20" y="13"/>
                    <a:pt x="8" y="36"/>
                  </a:cubicBezTo>
                  <a:cubicBezTo>
                    <a:pt x="4" y="44"/>
                    <a:pt x="2" y="52"/>
                    <a:pt x="1" y="61"/>
                  </a:cubicBezTo>
                  <a:cubicBezTo>
                    <a:pt x="1" y="62"/>
                    <a:pt x="0" y="64"/>
                    <a:pt x="0" y="65"/>
                  </a:cubicBezTo>
                  <a:cubicBezTo>
                    <a:pt x="0" y="66"/>
                    <a:pt x="1" y="67"/>
                    <a:pt x="1" y="67"/>
                  </a:cubicBezTo>
                  <a:cubicBezTo>
                    <a:pt x="2" y="67"/>
                    <a:pt x="2" y="67"/>
                    <a:pt x="3" y="66"/>
                  </a:cubicBezTo>
                  <a:cubicBezTo>
                    <a:pt x="4" y="65"/>
                    <a:pt x="5" y="64"/>
                    <a:pt x="6" y="63"/>
                  </a:cubicBezTo>
                  <a:cubicBezTo>
                    <a:pt x="10" y="60"/>
                    <a:pt x="14" y="59"/>
                    <a:pt x="18" y="59"/>
                  </a:cubicBezTo>
                  <a:cubicBezTo>
                    <a:pt x="21" y="59"/>
                    <a:pt x="24" y="60"/>
                    <a:pt x="27" y="61"/>
                  </a:cubicBezTo>
                  <a:cubicBezTo>
                    <a:pt x="34" y="65"/>
                    <a:pt x="37" y="72"/>
                    <a:pt x="37" y="79"/>
                  </a:cubicBezTo>
                  <a:cubicBezTo>
                    <a:pt x="37" y="82"/>
                    <a:pt x="37" y="83"/>
                    <a:pt x="37" y="83"/>
                  </a:cubicBezTo>
                  <a:cubicBezTo>
                    <a:pt x="38" y="83"/>
                    <a:pt x="39" y="82"/>
                    <a:pt x="41" y="81"/>
                  </a:cubicBezTo>
                  <a:cubicBezTo>
                    <a:pt x="44" y="79"/>
                    <a:pt x="48" y="77"/>
                    <a:pt x="52" y="77"/>
                  </a:cubicBezTo>
                  <a:cubicBezTo>
                    <a:pt x="54" y="77"/>
                    <a:pt x="56" y="78"/>
                    <a:pt x="58" y="78"/>
                  </a:cubicBezTo>
                  <a:cubicBezTo>
                    <a:pt x="59" y="79"/>
                    <a:pt x="61" y="79"/>
                    <a:pt x="62" y="80"/>
                  </a:cubicBezTo>
                  <a:cubicBezTo>
                    <a:pt x="65" y="81"/>
                    <a:pt x="67" y="84"/>
                    <a:pt x="69" y="87"/>
                  </a:cubicBezTo>
                  <a:cubicBezTo>
                    <a:pt x="71" y="90"/>
                    <a:pt x="72" y="94"/>
                    <a:pt x="72" y="98"/>
                  </a:cubicBezTo>
                  <a:cubicBezTo>
                    <a:pt x="72" y="100"/>
                    <a:pt x="72" y="102"/>
                    <a:pt x="72" y="102"/>
                  </a:cubicBezTo>
                  <a:cubicBezTo>
                    <a:pt x="73" y="102"/>
                    <a:pt x="74" y="101"/>
                    <a:pt x="75" y="100"/>
                  </a:cubicBezTo>
                  <a:cubicBezTo>
                    <a:pt x="79" y="97"/>
                    <a:pt x="83" y="96"/>
                    <a:pt x="87" y="96"/>
                  </a:cubicBezTo>
                  <a:cubicBezTo>
                    <a:pt x="90" y="96"/>
                    <a:pt x="93" y="97"/>
                    <a:pt x="96" y="98"/>
                  </a:cubicBezTo>
                  <a:cubicBezTo>
                    <a:pt x="103" y="102"/>
                    <a:pt x="107" y="109"/>
                    <a:pt x="107" y="116"/>
                  </a:cubicBezTo>
                  <a:cubicBezTo>
                    <a:pt x="107" y="119"/>
                    <a:pt x="107" y="121"/>
                    <a:pt x="108" y="121"/>
                  </a:cubicBezTo>
                  <a:cubicBezTo>
                    <a:pt x="109" y="121"/>
                    <a:pt x="110" y="120"/>
                    <a:pt x="111" y="119"/>
                  </a:cubicBezTo>
                  <a:cubicBezTo>
                    <a:pt x="118" y="114"/>
                    <a:pt x="124" y="107"/>
                    <a:pt x="128" y="99"/>
                  </a:cubicBezTo>
                  <a:cubicBezTo>
                    <a:pt x="144" y="69"/>
                    <a:pt x="135" y="32"/>
                    <a:pt x="108" y="1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59" name="任意多边形: 形状 1558"/>
            <p:cNvSpPr/>
            <p:nvPr>
              <p:custDataLst>
                <p:tags r:id="rId151"/>
              </p:custDataLst>
            </p:nvPr>
          </p:nvSpPr>
          <p:spPr bwMode="auto">
            <a:xfrm flipH="1">
              <a:off x="3245767" y="5092232"/>
              <a:ext cx="334623" cy="305179"/>
            </a:xfrm>
            <a:custGeom>
              <a:avLst/>
              <a:gdLst>
                <a:gd name="T0" fmla="*/ 64 w 155"/>
                <a:gd name="T1" fmla="*/ 117 h 150"/>
                <a:gd name="T2" fmla="*/ 94 w 155"/>
                <a:gd name="T3" fmla="*/ 108 h 150"/>
                <a:gd name="T4" fmla="*/ 136 w 155"/>
                <a:gd name="T5" fmla="*/ 150 h 150"/>
                <a:gd name="T6" fmla="*/ 155 w 155"/>
                <a:gd name="T7" fmla="*/ 131 h 150"/>
                <a:gd name="T8" fmla="*/ 113 w 155"/>
                <a:gd name="T9" fmla="*/ 89 h 150"/>
                <a:gd name="T10" fmla="*/ 105 w 155"/>
                <a:gd name="T11" fmla="*/ 17 h 150"/>
                <a:gd name="T12" fmla="*/ 64 w 155"/>
                <a:gd name="T13" fmla="*/ 0 h 150"/>
                <a:gd name="T14" fmla="*/ 64 w 155"/>
                <a:gd name="T15" fmla="*/ 23 h 150"/>
                <a:gd name="T16" fmla="*/ 75 w 155"/>
                <a:gd name="T17" fmla="*/ 23 h 150"/>
                <a:gd name="T18" fmla="*/ 75 w 155"/>
                <a:gd name="T19" fmla="*/ 47 h 150"/>
                <a:gd name="T20" fmla="*/ 99 w 155"/>
                <a:gd name="T21" fmla="*/ 47 h 150"/>
                <a:gd name="T22" fmla="*/ 99 w 155"/>
                <a:gd name="T23" fmla="*/ 70 h 150"/>
                <a:gd name="T24" fmla="*/ 75 w 155"/>
                <a:gd name="T25" fmla="*/ 70 h 150"/>
                <a:gd name="T26" fmla="*/ 75 w 155"/>
                <a:gd name="T27" fmla="*/ 94 h 150"/>
                <a:gd name="T28" fmla="*/ 64 w 155"/>
                <a:gd name="T29" fmla="*/ 94 h 150"/>
                <a:gd name="T30" fmla="*/ 64 w 155"/>
                <a:gd name="T31" fmla="*/ 117 h 150"/>
                <a:gd name="T32" fmla="*/ 22 w 155"/>
                <a:gd name="T33" fmla="*/ 100 h 150"/>
                <a:gd name="T34" fmla="*/ 64 w 155"/>
                <a:gd name="T35" fmla="*/ 117 h 150"/>
                <a:gd name="T36" fmla="*/ 64 w 155"/>
                <a:gd name="T37" fmla="*/ 94 h 150"/>
                <a:gd name="T38" fmla="*/ 53 w 155"/>
                <a:gd name="T39" fmla="*/ 94 h 150"/>
                <a:gd name="T40" fmla="*/ 53 w 155"/>
                <a:gd name="T41" fmla="*/ 70 h 150"/>
                <a:gd name="T42" fmla="*/ 28 w 155"/>
                <a:gd name="T43" fmla="*/ 70 h 150"/>
                <a:gd name="T44" fmla="*/ 28 w 155"/>
                <a:gd name="T45" fmla="*/ 47 h 150"/>
                <a:gd name="T46" fmla="*/ 28 w 155"/>
                <a:gd name="T47" fmla="*/ 47 h 150"/>
                <a:gd name="T48" fmla="*/ 53 w 155"/>
                <a:gd name="T49" fmla="*/ 47 h 150"/>
                <a:gd name="T50" fmla="*/ 53 w 155"/>
                <a:gd name="T51" fmla="*/ 23 h 150"/>
                <a:gd name="T52" fmla="*/ 64 w 155"/>
                <a:gd name="T53" fmla="*/ 23 h 150"/>
                <a:gd name="T54" fmla="*/ 64 w 155"/>
                <a:gd name="T55" fmla="*/ 0 h 150"/>
                <a:gd name="T56" fmla="*/ 22 w 155"/>
                <a:gd name="T57" fmla="*/ 17 h 150"/>
                <a:gd name="T58" fmla="*/ 22 w 155"/>
                <a:gd name="T59" fmla="*/ 10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5" h="150">
                  <a:moveTo>
                    <a:pt x="64" y="117"/>
                  </a:moveTo>
                  <a:cubicBezTo>
                    <a:pt x="74" y="117"/>
                    <a:pt x="85" y="114"/>
                    <a:pt x="94" y="108"/>
                  </a:cubicBezTo>
                  <a:cubicBezTo>
                    <a:pt x="136" y="150"/>
                    <a:pt x="136" y="150"/>
                    <a:pt x="136" y="150"/>
                  </a:cubicBezTo>
                  <a:cubicBezTo>
                    <a:pt x="155" y="131"/>
                    <a:pt x="155" y="131"/>
                    <a:pt x="155" y="131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27" y="67"/>
                    <a:pt x="124" y="37"/>
                    <a:pt x="105" y="17"/>
                  </a:cubicBezTo>
                  <a:cubicBezTo>
                    <a:pt x="94" y="6"/>
                    <a:pt x="79" y="0"/>
                    <a:pt x="64" y="0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64" y="94"/>
                    <a:pt x="64" y="94"/>
                    <a:pt x="64" y="94"/>
                  </a:cubicBezTo>
                  <a:lnTo>
                    <a:pt x="64" y="117"/>
                  </a:lnTo>
                  <a:close/>
                  <a:moveTo>
                    <a:pt x="22" y="100"/>
                  </a:moveTo>
                  <a:cubicBezTo>
                    <a:pt x="34" y="111"/>
                    <a:pt x="49" y="117"/>
                    <a:pt x="64" y="11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9" y="0"/>
                    <a:pt x="34" y="6"/>
                    <a:pt x="22" y="17"/>
                  </a:cubicBezTo>
                  <a:cubicBezTo>
                    <a:pt x="0" y="40"/>
                    <a:pt x="0" y="77"/>
                    <a:pt x="22" y="10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0" name="任意多边形: 形状 1559"/>
            <p:cNvSpPr/>
            <p:nvPr>
              <p:custDataLst>
                <p:tags r:id="rId152"/>
              </p:custDataLst>
            </p:nvPr>
          </p:nvSpPr>
          <p:spPr bwMode="auto">
            <a:xfrm flipH="1">
              <a:off x="4283372" y="4366680"/>
              <a:ext cx="88443" cy="105738"/>
            </a:xfrm>
            <a:custGeom>
              <a:avLst/>
              <a:gdLst>
                <a:gd name="T0" fmla="*/ 0 w 41"/>
                <a:gd name="T1" fmla="*/ 0 h 52"/>
                <a:gd name="T2" fmla="*/ 16 w 41"/>
                <a:gd name="T3" fmla="*/ 52 h 52"/>
                <a:gd name="T4" fmla="*/ 41 w 41"/>
                <a:gd name="T5" fmla="*/ 0 h 52"/>
                <a:gd name="T6" fmla="*/ 0 w 41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52">
                  <a:moveTo>
                    <a:pt x="0" y="0"/>
                  </a:moveTo>
                  <a:cubicBezTo>
                    <a:pt x="1" y="21"/>
                    <a:pt x="7" y="39"/>
                    <a:pt x="16" y="52"/>
                  </a:cubicBezTo>
                  <a:cubicBezTo>
                    <a:pt x="30" y="39"/>
                    <a:pt x="39" y="21"/>
                    <a:pt x="4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1" name="任意多边形: 形状 1560"/>
            <p:cNvSpPr/>
            <p:nvPr>
              <p:custDataLst>
                <p:tags r:id="rId153"/>
              </p:custDataLst>
            </p:nvPr>
          </p:nvSpPr>
          <p:spPr bwMode="auto">
            <a:xfrm flipH="1">
              <a:off x="4283372" y="4236012"/>
              <a:ext cx="88443" cy="104019"/>
            </a:xfrm>
            <a:custGeom>
              <a:avLst/>
              <a:gdLst>
                <a:gd name="T0" fmla="*/ 16 w 41"/>
                <a:gd name="T1" fmla="*/ 0 h 51"/>
                <a:gd name="T2" fmla="*/ 0 w 41"/>
                <a:gd name="T3" fmla="*/ 51 h 51"/>
                <a:gd name="T4" fmla="*/ 41 w 41"/>
                <a:gd name="T5" fmla="*/ 51 h 51"/>
                <a:gd name="T6" fmla="*/ 16 w 41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51">
                  <a:moveTo>
                    <a:pt x="16" y="0"/>
                  </a:moveTo>
                  <a:cubicBezTo>
                    <a:pt x="7" y="12"/>
                    <a:pt x="1" y="30"/>
                    <a:pt x="0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39" y="31"/>
                    <a:pt x="30" y="13"/>
                    <a:pt x="1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2" name="任意多边形: 形状 1561"/>
            <p:cNvSpPr/>
            <p:nvPr>
              <p:custDataLst>
                <p:tags r:id="rId154"/>
              </p:custDataLst>
            </p:nvPr>
          </p:nvSpPr>
          <p:spPr bwMode="auto">
            <a:xfrm flipH="1">
              <a:off x="4360873" y="4193889"/>
              <a:ext cx="77501" cy="146142"/>
            </a:xfrm>
            <a:custGeom>
              <a:avLst/>
              <a:gdLst>
                <a:gd name="T0" fmla="*/ 0 w 36"/>
                <a:gd name="T1" fmla="*/ 0 h 72"/>
                <a:gd name="T2" fmla="*/ 0 w 36"/>
                <a:gd name="T3" fmla="*/ 72 h 72"/>
                <a:gd name="T4" fmla="*/ 18 w 36"/>
                <a:gd name="T5" fmla="*/ 72 h 72"/>
                <a:gd name="T6" fmla="*/ 36 w 36"/>
                <a:gd name="T7" fmla="*/ 12 h 72"/>
                <a:gd name="T8" fmla="*/ 0 w 36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72">
                  <a:moveTo>
                    <a:pt x="0" y="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48"/>
                    <a:pt x="26" y="27"/>
                    <a:pt x="36" y="12"/>
                  </a:cubicBezTo>
                  <a:cubicBezTo>
                    <a:pt x="26" y="6"/>
                    <a:pt x="13" y="1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3" name="任意多边形: 形状 1562"/>
            <p:cNvSpPr/>
            <p:nvPr>
              <p:custDataLst>
                <p:tags r:id="rId155"/>
              </p:custDataLst>
            </p:nvPr>
          </p:nvSpPr>
          <p:spPr bwMode="auto">
            <a:xfrm flipH="1">
              <a:off x="4466640" y="4366680"/>
              <a:ext cx="80237" cy="146142"/>
            </a:xfrm>
            <a:custGeom>
              <a:avLst/>
              <a:gdLst>
                <a:gd name="T0" fmla="*/ 37 w 37"/>
                <a:gd name="T1" fmla="*/ 72 h 72"/>
                <a:gd name="T2" fmla="*/ 37 w 37"/>
                <a:gd name="T3" fmla="*/ 0 h 72"/>
                <a:gd name="T4" fmla="*/ 18 w 37"/>
                <a:gd name="T5" fmla="*/ 0 h 72"/>
                <a:gd name="T6" fmla="*/ 0 w 37"/>
                <a:gd name="T7" fmla="*/ 59 h 72"/>
                <a:gd name="T8" fmla="*/ 37 w 37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2">
                  <a:moveTo>
                    <a:pt x="37" y="72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24"/>
                    <a:pt x="10" y="45"/>
                    <a:pt x="0" y="59"/>
                  </a:cubicBezTo>
                  <a:cubicBezTo>
                    <a:pt x="11" y="67"/>
                    <a:pt x="23" y="71"/>
                    <a:pt x="37" y="7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4" name="任意多边形: 形状 1563"/>
            <p:cNvSpPr/>
            <p:nvPr>
              <p:custDataLst>
                <p:tags r:id="rId156"/>
              </p:custDataLst>
            </p:nvPr>
          </p:nvSpPr>
          <p:spPr bwMode="auto">
            <a:xfrm flipH="1">
              <a:off x="4466640" y="4193889"/>
              <a:ext cx="80237" cy="146142"/>
            </a:xfrm>
            <a:custGeom>
              <a:avLst/>
              <a:gdLst>
                <a:gd name="T0" fmla="*/ 18 w 37"/>
                <a:gd name="T1" fmla="*/ 72 h 72"/>
                <a:gd name="T2" fmla="*/ 37 w 37"/>
                <a:gd name="T3" fmla="*/ 72 h 72"/>
                <a:gd name="T4" fmla="*/ 37 w 37"/>
                <a:gd name="T5" fmla="*/ 0 h 72"/>
                <a:gd name="T6" fmla="*/ 0 w 37"/>
                <a:gd name="T7" fmla="*/ 13 h 72"/>
                <a:gd name="T8" fmla="*/ 18 w 37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2">
                  <a:moveTo>
                    <a:pt x="18" y="72"/>
                  </a:moveTo>
                  <a:cubicBezTo>
                    <a:pt x="37" y="72"/>
                    <a:pt x="37" y="72"/>
                    <a:pt x="37" y="7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3" y="1"/>
                    <a:pt x="11" y="6"/>
                    <a:pt x="0" y="13"/>
                  </a:cubicBezTo>
                  <a:cubicBezTo>
                    <a:pt x="10" y="28"/>
                    <a:pt x="17" y="48"/>
                    <a:pt x="18" y="7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5" name="任意多边形: 形状 1564"/>
            <p:cNvSpPr/>
            <p:nvPr>
              <p:custDataLst>
                <p:tags r:id="rId157"/>
              </p:custDataLst>
            </p:nvPr>
          </p:nvSpPr>
          <p:spPr bwMode="auto">
            <a:xfrm flipH="1">
              <a:off x="4535935" y="4366680"/>
              <a:ext cx="85707" cy="103159"/>
            </a:xfrm>
            <a:custGeom>
              <a:avLst/>
              <a:gdLst>
                <a:gd name="T0" fmla="*/ 25 w 40"/>
                <a:gd name="T1" fmla="*/ 51 h 51"/>
                <a:gd name="T2" fmla="*/ 40 w 40"/>
                <a:gd name="T3" fmla="*/ 0 h 51"/>
                <a:gd name="T4" fmla="*/ 0 w 40"/>
                <a:gd name="T5" fmla="*/ 0 h 51"/>
                <a:gd name="T6" fmla="*/ 25 w 40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51">
                  <a:moveTo>
                    <a:pt x="25" y="51"/>
                  </a:moveTo>
                  <a:cubicBezTo>
                    <a:pt x="33" y="38"/>
                    <a:pt x="39" y="21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0"/>
                    <a:pt x="11" y="38"/>
                    <a:pt x="25" y="5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6" name="任意多边形: 形状 1565"/>
            <p:cNvSpPr/>
            <p:nvPr>
              <p:custDataLst>
                <p:tags r:id="rId158"/>
              </p:custDataLst>
            </p:nvPr>
          </p:nvSpPr>
          <p:spPr bwMode="auto">
            <a:xfrm flipH="1">
              <a:off x="4535935" y="4236012"/>
              <a:ext cx="85707" cy="104019"/>
            </a:xfrm>
            <a:custGeom>
              <a:avLst/>
              <a:gdLst>
                <a:gd name="T0" fmla="*/ 25 w 40"/>
                <a:gd name="T1" fmla="*/ 0 h 51"/>
                <a:gd name="T2" fmla="*/ 0 w 40"/>
                <a:gd name="T3" fmla="*/ 51 h 51"/>
                <a:gd name="T4" fmla="*/ 40 w 40"/>
                <a:gd name="T5" fmla="*/ 51 h 51"/>
                <a:gd name="T6" fmla="*/ 25 w 40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51">
                  <a:moveTo>
                    <a:pt x="25" y="0"/>
                  </a:moveTo>
                  <a:cubicBezTo>
                    <a:pt x="11" y="13"/>
                    <a:pt x="1" y="31"/>
                    <a:pt x="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31"/>
                    <a:pt x="33" y="13"/>
                    <a:pt x="25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7" name="任意多边形: 形状 1566"/>
            <p:cNvSpPr/>
            <p:nvPr>
              <p:custDataLst>
                <p:tags r:id="rId159"/>
              </p:custDataLst>
            </p:nvPr>
          </p:nvSpPr>
          <p:spPr bwMode="auto">
            <a:xfrm flipH="1">
              <a:off x="4360873" y="4366680"/>
              <a:ext cx="77501" cy="146142"/>
            </a:xfrm>
            <a:custGeom>
              <a:avLst/>
              <a:gdLst>
                <a:gd name="T0" fmla="*/ 0 w 36"/>
                <a:gd name="T1" fmla="*/ 72 h 72"/>
                <a:gd name="T2" fmla="*/ 36 w 36"/>
                <a:gd name="T3" fmla="*/ 60 h 72"/>
                <a:gd name="T4" fmla="*/ 18 w 36"/>
                <a:gd name="T5" fmla="*/ 0 h 72"/>
                <a:gd name="T6" fmla="*/ 0 w 36"/>
                <a:gd name="T7" fmla="*/ 0 h 72"/>
                <a:gd name="T8" fmla="*/ 0 w 36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72">
                  <a:moveTo>
                    <a:pt x="0" y="72"/>
                  </a:moveTo>
                  <a:cubicBezTo>
                    <a:pt x="13" y="71"/>
                    <a:pt x="26" y="67"/>
                    <a:pt x="36" y="60"/>
                  </a:cubicBezTo>
                  <a:cubicBezTo>
                    <a:pt x="26" y="45"/>
                    <a:pt x="19" y="24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8" name="任意多边形: 形状 1567"/>
            <p:cNvSpPr/>
            <p:nvPr>
              <p:custDataLst>
                <p:tags r:id="rId160"/>
              </p:custDataLst>
            </p:nvPr>
          </p:nvSpPr>
          <p:spPr bwMode="auto">
            <a:xfrm flipH="1">
              <a:off x="1774156" y="4545489"/>
              <a:ext cx="334623" cy="385987"/>
            </a:xfrm>
            <a:custGeom>
              <a:avLst/>
              <a:gdLst>
                <a:gd name="T0" fmla="*/ 108 w 155"/>
                <a:gd name="T1" fmla="*/ 175 h 190"/>
                <a:gd name="T2" fmla="*/ 155 w 155"/>
                <a:gd name="T3" fmla="*/ 190 h 190"/>
                <a:gd name="T4" fmla="*/ 108 w 155"/>
                <a:gd name="T5" fmla="*/ 109 h 190"/>
                <a:gd name="T6" fmla="*/ 98 w 155"/>
                <a:gd name="T7" fmla="*/ 92 h 190"/>
                <a:gd name="T8" fmla="*/ 89 w 155"/>
                <a:gd name="T9" fmla="*/ 132 h 190"/>
                <a:gd name="T10" fmla="*/ 93 w 155"/>
                <a:gd name="T11" fmla="*/ 144 h 190"/>
                <a:gd name="T12" fmla="*/ 89 w 155"/>
                <a:gd name="T13" fmla="*/ 140 h 190"/>
                <a:gd name="T14" fmla="*/ 96 w 155"/>
                <a:gd name="T15" fmla="*/ 161 h 190"/>
                <a:gd name="T16" fmla="*/ 89 w 155"/>
                <a:gd name="T17" fmla="*/ 175 h 190"/>
                <a:gd name="T18" fmla="*/ 89 w 155"/>
                <a:gd name="T19" fmla="*/ 175 h 190"/>
                <a:gd name="T20" fmla="*/ 77 w 155"/>
                <a:gd name="T21" fmla="*/ 161 h 190"/>
                <a:gd name="T22" fmla="*/ 89 w 155"/>
                <a:gd name="T23" fmla="*/ 50 h 190"/>
                <a:gd name="T24" fmla="*/ 82 w 155"/>
                <a:gd name="T25" fmla="*/ 28 h 190"/>
                <a:gd name="T26" fmla="*/ 77 w 155"/>
                <a:gd name="T27" fmla="*/ 56 h 190"/>
                <a:gd name="T28" fmla="*/ 77 w 155"/>
                <a:gd name="T29" fmla="*/ 92 h 190"/>
                <a:gd name="T30" fmla="*/ 85 w 155"/>
                <a:gd name="T31" fmla="*/ 109 h 190"/>
                <a:gd name="T32" fmla="*/ 77 w 155"/>
                <a:gd name="T33" fmla="*/ 129 h 190"/>
                <a:gd name="T34" fmla="*/ 89 w 155"/>
                <a:gd name="T35" fmla="*/ 154 h 190"/>
                <a:gd name="T36" fmla="*/ 84 w 155"/>
                <a:gd name="T37" fmla="*/ 136 h 190"/>
                <a:gd name="T38" fmla="*/ 89 w 155"/>
                <a:gd name="T39" fmla="*/ 50 h 190"/>
                <a:gd name="T40" fmla="*/ 77 w 155"/>
                <a:gd name="T41" fmla="*/ 175 h 190"/>
                <a:gd name="T42" fmla="*/ 77 w 155"/>
                <a:gd name="T43" fmla="*/ 161 h 190"/>
                <a:gd name="T44" fmla="*/ 77 w 155"/>
                <a:gd name="T45" fmla="*/ 161 h 190"/>
                <a:gd name="T46" fmla="*/ 66 w 155"/>
                <a:gd name="T47" fmla="*/ 175 h 190"/>
                <a:gd name="T48" fmla="*/ 77 w 155"/>
                <a:gd name="T49" fmla="*/ 0 h 190"/>
                <a:gd name="T50" fmla="*/ 70 w 155"/>
                <a:gd name="T51" fmla="*/ 28 h 190"/>
                <a:gd name="T52" fmla="*/ 66 w 155"/>
                <a:gd name="T53" fmla="*/ 132 h 190"/>
                <a:gd name="T54" fmla="*/ 66 w 155"/>
                <a:gd name="T55" fmla="*/ 140 h 190"/>
                <a:gd name="T56" fmla="*/ 77 w 155"/>
                <a:gd name="T57" fmla="*/ 143 h 190"/>
                <a:gd name="T58" fmla="*/ 77 w 155"/>
                <a:gd name="T59" fmla="*/ 129 h 190"/>
                <a:gd name="T60" fmla="*/ 68 w 155"/>
                <a:gd name="T61" fmla="*/ 119 h 190"/>
                <a:gd name="T62" fmla="*/ 77 w 155"/>
                <a:gd name="T63" fmla="*/ 109 h 190"/>
                <a:gd name="T64" fmla="*/ 77 w 155"/>
                <a:gd name="T65" fmla="*/ 109 h 190"/>
                <a:gd name="T66" fmla="*/ 77 w 155"/>
                <a:gd name="T67" fmla="*/ 92 h 190"/>
                <a:gd name="T68" fmla="*/ 77 w 155"/>
                <a:gd name="T69" fmla="*/ 56 h 190"/>
                <a:gd name="T70" fmla="*/ 77 w 155"/>
                <a:gd name="T71" fmla="*/ 56 h 190"/>
                <a:gd name="T72" fmla="*/ 0 w 155"/>
                <a:gd name="T73" fmla="*/ 190 h 190"/>
                <a:gd name="T74" fmla="*/ 47 w 155"/>
                <a:gd name="T75" fmla="*/ 175 h 190"/>
                <a:gd name="T76" fmla="*/ 66 w 155"/>
                <a:gd name="T77" fmla="*/ 161 h 190"/>
                <a:gd name="T78" fmla="*/ 66 w 155"/>
                <a:gd name="T79" fmla="*/ 154 h 190"/>
                <a:gd name="T80" fmla="*/ 62 w 155"/>
                <a:gd name="T81" fmla="*/ 144 h 190"/>
                <a:gd name="T82" fmla="*/ 65 w 155"/>
                <a:gd name="T83" fmla="*/ 131 h 190"/>
                <a:gd name="T84" fmla="*/ 66 w 155"/>
                <a:gd name="T85" fmla="*/ 50 h 190"/>
                <a:gd name="T86" fmla="*/ 47 w 155"/>
                <a:gd name="T87" fmla="*/ 92 h 190"/>
                <a:gd name="T88" fmla="*/ 52 w 155"/>
                <a:gd name="T89" fmla="*/ 10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5" h="190">
                  <a:moveTo>
                    <a:pt x="89" y="175"/>
                  </a:moveTo>
                  <a:cubicBezTo>
                    <a:pt x="108" y="175"/>
                    <a:pt x="108" y="175"/>
                    <a:pt x="108" y="175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55" y="190"/>
                    <a:pt x="155" y="190"/>
                    <a:pt x="155" y="190"/>
                  </a:cubicBezTo>
                  <a:cubicBezTo>
                    <a:pt x="130" y="177"/>
                    <a:pt x="114" y="142"/>
                    <a:pt x="103" y="109"/>
                  </a:cubicBezTo>
                  <a:cubicBezTo>
                    <a:pt x="108" y="109"/>
                    <a:pt x="108" y="109"/>
                    <a:pt x="108" y="109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98" y="92"/>
                    <a:pt x="98" y="92"/>
                    <a:pt x="98" y="92"/>
                  </a:cubicBezTo>
                  <a:cubicBezTo>
                    <a:pt x="94" y="77"/>
                    <a:pt x="91" y="62"/>
                    <a:pt x="89" y="50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1"/>
                    <a:pt x="89" y="131"/>
                    <a:pt x="89" y="131"/>
                  </a:cubicBezTo>
                  <a:cubicBezTo>
                    <a:pt x="90" y="135"/>
                    <a:pt x="92" y="140"/>
                    <a:pt x="93" y="144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96" y="161"/>
                    <a:pt x="96" y="161"/>
                    <a:pt x="96" y="161"/>
                  </a:cubicBezTo>
                  <a:cubicBezTo>
                    <a:pt x="89" y="161"/>
                    <a:pt x="89" y="161"/>
                    <a:pt x="89" y="161"/>
                  </a:cubicBezTo>
                  <a:lnTo>
                    <a:pt x="89" y="175"/>
                  </a:lnTo>
                  <a:close/>
                  <a:moveTo>
                    <a:pt x="77" y="175"/>
                  </a:moveTo>
                  <a:cubicBezTo>
                    <a:pt x="89" y="175"/>
                    <a:pt x="89" y="175"/>
                    <a:pt x="89" y="175"/>
                  </a:cubicBezTo>
                  <a:cubicBezTo>
                    <a:pt x="89" y="161"/>
                    <a:pt x="89" y="161"/>
                    <a:pt x="89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75"/>
                    <a:pt x="77" y="175"/>
                    <a:pt x="77" y="175"/>
                  </a:cubicBezTo>
                  <a:close/>
                  <a:moveTo>
                    <a:pt x="89" y="50"/>
                  </a:moveTo>
                  <a:cubicBezTo>
                    <a:pt x="86" y="37"/>
                    <a:pt x="85" y="28"/>
                    <a:pt x="8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7"/>
                    <a:pt x="79" y="84"/>
                    <a:pt x="81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85" y="109"/>
                    <a:pt x="85" y="109"/>
                    <a:pt x="85" y="109"/>
                  </a:cubicBezTo>
                  <a:cubicBezTo>
                    <a:pt x="85" y="109"/>
                    <a:pt x="85" y="113"/>
                    <a:pt x="87" y="119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84" y="136"/>
                    <a:pt x="84" y="136"/>
                    <a:pt x="84" y="136"/>
                  </a:cubicBezTo>
                  <a:cubicBezTo>
                    <a:pt x="89" y="132"/>
                    <a:pt x="89" y="132"/>
                    <a:pt x="89" y="132"/>
                  </a:cubicBezTo>
                  <a:lnTo>
                    <a:pt x="89" y="50"/>
                  </a:lnTo>
                  <a:close/>
                  <a:moveTo>
                    <a:pt x="66" y="175"/>
                  </a:moveTo>
                  <a:cubicBezTo>
                    <a:pt x="77" y="175"/>
                    <a:pt x="77" y="175"/>
                    <a:pt x="77" y="175"/>
                  </a:cubicBezTo>
                  <a:cubicBezTo>
                    <a:pt x="77" y="175"/>
                    <a:pt x="77" y="175"/>
                    <a:pt x="77" y="175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6" y="175"/>
                    <a:pt x="66" y="175"/>
                    <a:pt x="66" y="175"/>
                  </a:cubicBezTo>
                  <a:close/>
                  <a:moveTo>
                    <a:pt x="77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37"/>
                    <a:pt x="66" y="50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69" y="113"/>
                    <a:pt x="70" y="109"/>
                    <a:pt x="70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76" y="84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lnTo>
                    <a:pt x="77" y="0"/>
                  </a:lnTo>
                  <a:close/>
                  <a:moveTo>
                    <a:pt x="0" y="190"/>
                  </a:moveTo>
                  <a:cubicBezTo>
                    <a:pt x="31" y="190"/>
                    <a:pt x="31" y="190"/>
                    <a:pt x="31" y="190"/>
                  </a:cubicBezTo>
                  <a:cubicBezTo>
                    <a:pt x="47" y="175"/>
                    <a:pt x="47" y="175"/>
                    <a:pt x="47" y="175"/>
                  </a:cubicBezTo>
                  <a:cubicBezTo>
                    <a:pt x="66" y="175"/>
                    <a:pt x="66" y="175"/>
                    <a:pt x="66" y="175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59" y="161"/>
                    <a:pt x="59" y="161"/>
                    <a:pt x="59" y="161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2" y="144"/>
                    <a:pt x="62" y="144"/>
                    <a:pt x="62" y="144"/>
                  </a:cubicBezTo>
                  <a:cubicBezTo>
                    <a:pt x="63" y="140"/>
                    <a:pt x="64" y="135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4" y="62"/>
                    <a:pt x="61" y="77"/>
                    <a:pt x="57" y="92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41" y="142"/>
                    <a:pt x="25" y="177"/>
                    <a:pt x="0" y="1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69" name="任意多边形: 形状 1568"/>
            <p:cNvSpPr/>
            <p:nvPr>
              <p:custDataLst>
                <p:tags r:id="rId161"/>
              </p:custDataLst>
            </p:nvPr>
          </p:nvSpPr>
          <p:spPr bwMode="auto">
            <a:xfrm flipH="1">
              <a:off x="1327385" y="2493484"/>
              <a:ext cx="134032" cy="361916"/>
            </a:xfrm>
            <a:custGeom>
              <a:avLst/>
              <a:gdLst>
                <a:gd name="T0" fmla="*/ 8 w 62"/>
                <a:gd name="T1" fmla="*/ 21 h 178"/>
                <a:gd name="T2" fmla="*/ 1 w 62"/>
                <a:gd name="T3" fmla="*/ 43 h 178"/>
                <a:gd name="T4" fmla="*/ 6 w 62"/>
                <a:gd name="T5" fmla="*/ 62 h 178"/>
                <a:gd name="T6" fmla="*/ 23 w 62"/>
                <a:gd name="T7" fmla="*/ 82 h 178"/>
                <a:gd name="T8" fmla="*/ 23 w 62"/>
                <a:gd name="T9" fmla="*/ 178 h 178"/>
                <a:gd name="T10" fmla="*/ 40 w 62"/>
                <a:gd name="T11" fmla="*/ 178 h 178"/>
                <a:gd name="T12" fmla="*/ 40 w 62"/>
                <a:gd name="T13" fmla="*/ 82 h 178"/>
                <a:gd name="T14" fmla="*/ 57 w 62"/>
                <a:gd name="T15" fmla="*/ 62 h 178"/>
                <a:gd name="T16" fmla="*/ 61 w 62"/>
                <a:gd name="T17" fmla="*/ 43 h 178"/>
                <a:gd name="T18" fmla="*/ 55 w 62"/>
                <a:gd name="T19" fmla="*/ 21 h 178"/>
                <a:gd name="T20" fmla="*/ 41 w 62"/>
                <a:gd name="T21" fmla="*/ 1 h 178"/>
                <a:gd name="T22" fmla="*/ 46 w 62"/>
                <a:gd name="T23" fmla="*/ 42 h 178"/>
                <a:gd name="T24" fmla="*/ 40 w 62"/>
                <a:gd name="T25" fmla="*/ 42 h 178"/>
                <a:gd name="T26" fmla="*/ 36 w 62"/>
                <a:gd name="T27" fmla="*/ 0 h 178"/>
                <a:gd name="T28" fmla="*/ 31 w 62"/>
                <a:gd name="T29" fmla="*/ 0 h 178"/>
                <a:gd name="T30" fmla="*/ 27 w 62"/>
                <a:gd name="T31" fmla="*/ 0 h 178"/>
                <a:gd name="T32" fmla="*/ 22 w 62"/>
                <a:gd name="T33" fmla="*/ 42 h 178"/>
                <a:gd name="T34" fmla="*/ 17 w 62"/>
                <a:gd name="T35" fmla="*/ 42 h 178"/>
                <a:gd name="T36" fmla="*/ 21 w 62"/>
                <a:gd name="T37" fmla="*/ 1 h 178"/>
                <a:gd name="T38" fmla="*/ 8 w 62"/>
                <a:gd name="T39" fmla="*/ 2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" h="178">
                  <a:moveTo>
                    <a:pt x="8" y="21"/>
                  </a:moveTo>
                  <a:cubicBezTo>
                    <a:pt x="5" y="29"/>
                    <a:pt x="2" y="36"/>
                    <a:pt x="1" y="43"/>
                  </a:cubicBezTo>
                  <a:cubicBezTo>
                    <a:pt x="0" y="51"/>
                    <a:pt x="2" y="56"/>
                    <a:pt x="6" y="62"/>
                  </a:cubicBezTo>
                  <a:cubicBezTo>
                    <a:pt x="9" y="68"/>
                    <a:pt x="15" y="77"/>
                    <a:pt x="23" y="82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40" y="178"/>
                    <a:pt x="40" y="178"/>
                    <a:pt x="40" y="178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7" y="78"/>
                    <a:pt x="53" y="68"/>
                    <a:pt x="57" y="62"/>
                  </a:cubicBezTo>
                  <a:cubicBezTo>
                    <a:pt x="60" y="56"/>
                    <a:pt x="62" y="51"/>
                    <a:pt x="61" y="43"/>
                  </a:cubicBezTo>
                  <a:cubicBezTo>
                    <a:pt x="60" y="36"/>
                    <a:pt x="57" y="29"/>
                    <a:pt x="55" y="21"/>
                  </a:cubicBezTo>
                  <a:cubicBezTo>
                    <a:pt x="53" y="16"/>
                    <a:pt x="49" y="2"/>
                    <a:pt x="41" y="1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4" y="2"/>
                    <a:pt x="10" y="16"/>
                    <a:pt x="8" y="2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0" name="任意多边形: 形状 1569"/>
            <p:cNvSpPr/>
            <p:nvPr>
              <p:custDataLst>
                <p:tags r:id="rId162"/>
              </p:custDataLst>
            </p:nvPr>
          </p:nvSpPr>
          <p:spPr bwMode="auto">
            <a:xfrm flipH="1">
              <a:off x="1145941" y="2487467"/>
              <a:ext cx="140414" cy="367934"/>
            </a:xfrm>
            <a:custGeom>
              <a:avLst/>
              <a:gdLst>
                <a:gd name="T0" fmla="*/ 41 w 65"/>
                <a:gd name="T1" fmla="*/ 181 h 181"/>
                <a:gd name="T2" fmla="*/ 41 w 65"/>
                <a:gd name="T3" fmla="*/ 86 h 181"/>
                <a:gd name="T4" fmla="*/ 65 w 65"/>
                <a:gd name="T5" fmla="*/ 48 h 181"/>
                <a:gd name="T6" fmla="*/ 33 w 65"/>
                <a:gd name="T7" fmla="*/ 0 h 181"/>
                <a:gd name="T8" fmla="*/ 0 w 65"/>
                <a:gd name="T9" fmla="*/ 48 h 181"/>
                <a:gd name="T10" fmla="*/ 24 w 65"/>
                <a:gd name="T11" fmla="*/ 86 h 181"/>
                <a:gd name="T12" fmla="*/ 24 w 65"/>
                <a:gd name="T13" fmla="*/ 181 h 181"/>
                <a:gd name="T14" fmla="*/ 41 w 65"/>
                <a:gd name="T1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81">
                  <a:moveTo>
                    <a:pt x="41" y="181"/>
                  </a:moveTo>
                  <a:cubicBezTo>
                    <a:pt x="41" y="86"/>
                    <a:pt x="41" y="86"/>
                    <a:pt x="41" y="86"/>
                  </a:cubicBezTo>
                  <a:cubicBezTo>
                    <a:pt x="55" y="82"/>
                    <a:pt x="65" y="66"/>
                    <a:pt x="65" y="48"/>
                  </a:cubicBezTo>
                  <a:cubicBezTo>
                    <a:pt x="65" y="26"/>
                    <a:pt x="51" y="0"/>
                    <a:pt x="33" y="0"/>
                  </a:cubicBezTo>
                  <a:cubicBezTo>
                    <a:pt x="15" y="0"/>
                    <a:pt x="0" y="26"/>
                    <a:pt x="0" y="48"/>
                  </a:cubicBezTo>
                  <a:cubicBezTo>
                    <a:pt x="0" y="66"/>
                    <a:pt x="10" y="82"/>
                    <a:pt x="24" y="86"/>
                  </a:cubicBezTo>
                  <a:cubicBezTo>
                    <a:pt x="24" y="181"/>
                    <a:pt x="24" y="181"/>
                    <a:pt x="24" y="181"/>
                  </a:cubicBezTo>
                  <a:lnTo>
                    <a:pt x="41" y="18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1" name="任意多边形: 形状 1570"/>
            <p:cNvSpPr/>
            <p:nvPr>
              <p:custDataLst>
                <p:tags r:id="rId163"/>
              </p:custDataLst>
            </p:nvPr>
          </p:nvSpPr>
          <p:spPr bwMode="auto">
            <a:xfrm flipH="1">
              <a:off x="2579257" y="1759335"/>
              <a:ext cx="333711" cy="79948"/>
            </a:xfrm>
            <a:custGeom>
              <a:avLst/>
              <a:gdLst>
                <a:gd name="T0" fmla="*/ 182 w 366"/>
                <a:gd name="T1" fmla="*/ 76 h 93"/>
                <a:gd name="T2" fmla="*/ 314 w 366"/>
                <a:gd name="T3" fmla="*/ 76 h 93"/>
                <a:gd name="T4" fmla="*/ 324 w 366"/>
                <a:gd name="T5" fmla="*/ 93 h 93"/>
                <a:gd name="T6" fmla="*/ 366 w 366"/>
                <a:gd name="T7" fmla="*/ 93 h 93"/>
                <a:gd name="T8" fmla="*/ 298 w 366"/>
                <a:gd name="T9" fmla="*/ 0 h 93"/>
                <a:gd name="T10" fmla="*/ 255 w 366"/>
                <a:gd name="T11" fmla="*/ 0 h 93"/>
                <a:gd name="T12" fmla="*/ 265 w 366"/>
                <a:gd name="T13" fmla="*/ 12 h 93"/>
                <a:gd name="T14" fmla="*/ 182 w 366"/>
                <a:gd name="T15" fmla="*/ 12 h 93"/>
                <a:gd name="T16" fmla="*/ 182 w 366"/>
                <a:gd name="T17" fmla="*/ 36 h 93"/>
                <a:gd name="T18" fmla="*/ 284 w 366"/>
                <a:gd name="T19" fmla="*/ 36 h 93"/>
                <a:gd name="T20" fmla="*/ 295 w 366"/>
                <a:gd name="T21" fmla="*/ 52 h 93"/>
                <a:gd name="T22" fmla="*/ 182 w 366"/>
                <a:gd name="T23" fmla="*/ 52 h 93"/>
                <a:gd name="T24" fmla="*/ 182 w 366"/>
                <a:gd name="T25" fmla="*/ 76 h 93"/>
                <a:gd name="T26" fmla="*/ 52 w 366"/>
                <a:gd name="T27" fmla="*/ 76 h 93"/>
                <a:gd name="T28" fmla="*/ 182 w 366"/>
                <a:gd name="T29" fmla="*/ 76 h 93"/>
                <a:gd name="T30" fmla="*/ 182 w 366"/>
                <a:gd name="T31" fmla="*/ 52 h 93"/>
                <a:gd name="T32" fmla="*/ 71 w 366"/>
                <a:gd name="T33" fmla="*/ 52 h 93"/>
                <a:gd name="T34" fmla="*/ 82 w 366"/>
                <a:gd name="T35" fmla="*/ 36 h 93"/>
                <a:gd name="T36" fmla="*/ 82 w 366"/>
                <a:gd name="T37" fmla="*/ 36 h 93"/>
                <a:gd name="T38" fmla="*/ 182 w 366"/>
                <a:gd name="T39" fmla="*/ 36 h 93"/>
                <a:gd name="T40" fmla="*/ 182 w 366"/>
                <a:gd name="T41" fmla="*/ 12 h 93"/>
                <a:gd name="T42" fmla="*/ 101 w 366"/>
                <a:gd name="T43" fmla="*/ 12 h 93"/>
                <a:gd name="T44" fmla="*/ 111 w 366"/>
                <a:gd name="T45" fmla="*/ 0 h 93"/>
                <a:gd name="T46" fmla="*/ 68 w 366"/>
                <a:gd name="T47" fmla="*/ 0 h 93"/>
                <a:gd name="T48" fmla="*/ 0 w 366"/>
                <a:gd name="T49" fmla="*/ 93 h 93"/>
                <a:gd name="T50" fmla="*/ 42 w 366"/>
                <a:gd name="T51" fmla="*/ 93 h 93"/>
                <a:gd name="T52" fmla="*/ 52 w 366"/>
                <a:gd name="T53" fmla="*/ 7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6" h="93">
                  <a:moveTo>
                    <a:pt x="182" y="76"/>
                  </a:moveTo>
                  <a:lnTo>
                    <a:pt x="314" y="76"/>
                  </a:lnTo>
                  <a:lnTo>
                    <a:pt x="324" y="93"/>
                  </a:lnTo>
                  <a:lnTo>
                    <a:pt x="366" y="93"/>
                  </a:lnTo>
                  <a:lnTo>
                    <a:pt x="298" y="0"/>
                  </a:lnTo>
                  <a:lnTo>
                    <a:pt x="255" y="0"/>
                  </a:lnTo>
                  <a:lnTo>
                    <a:pt x="265" y="12"/>
                  </a:lnTo>
                  <a:lnTo>
                    <a:pt x="182" y="12"/>
                  </a:lnTo>
                  <a:lnTo>
                    <a:pt x="182" y="36"/>
                  </a:lnTo>
                  <a:lnTo>
                    <a:pt x="284" y="36"/>
                  </a:lnTo>
                  <a:lnTo>
                    <a:pt x="295" y="52"/>
                  </a:lnTo>
                  <a:lnTo>
                    <a:pt x="182" y="52"/>
                  </a:lnTo>
                  <a:lnTo>
                    <a:pt x="182" y="76"/>
                  </a:lnTo>
                  <a:close/>
                  <a:moveTo>
                    <a:pt x="52" y="76"/>
                  </a:moveTo>
                  <a:lnTo>
                    <a:pt x="182" y="76"/>
                  </a:lnTo>
                  <a:lnTo>
                    <a:pt x="182" y="52"/>
                  </a:lnTo>
                  <a:lnTo>
                    <a:pt x="71" y="52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182" y="36"/>
                  </a:lnTo>
                  <a:lnTo>
                    <a:pt x="182" y="12"/>
                  </a:lnTo>
                  <a:lnTo>
                    <a:pt x="101" y="12"/>
                  </a:lnTo>
                  <a:lnTo>
                    <a:pt x="111" y="0"/>
                  </a:lnTo>
                  <a:lnTo>
                    <a:pt x="68" y="0"/>
                  </a:lnTo>
                  <a:lnTo>
                    <a:pt x="0" y="93"/>
                  </a:lnTo>
                  <a:lnTo>
                    <a:pt x="42" y="93"/>
                  </a:lnTo>
                  <a:lnTo>
                    <a:pt x="52" y="7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2" name="任意多边形: 形状 1571"/>
            <p:cNvSpPr/>
            <p:nvPr>
              <p:custDataLst>
                <p:tags r:id="rId164"/>
              </p:custDataLst>
            </p:nvPr>
          </p:nvSpPr>
          <p:spPr bwMode="auto">
            <a:xfrm flipH="1">
              <a:off x="2589287" y="1452438"/>
              <a:ext cx="306358" cy="297442"/>
            </a:xfrm>
            <a:custGeom>
              <a:avLst/>
              <a:gdLst>
                <a:gd name="T0" fmla="*/ 281 w 336"/>
                <a:gd name="T1" fmla="*/ 0 h 346"/>
                <a:gd name="T2" fmla="*/ 310 w 336"/>
                <a:gd name="T3" fmla="*/ 73 h 346"/>
                <a:gd name="T4" fmla="*/ 310 w 336"/>
                <a:gd name="T5" fmla="*/ 241 h 346"/>
                <a:gd name="T6" fmla="*/ 281 w 336"/>
                <a:gd name="T7" fmla="*/ 275 h 346"/>
                <a:gd name="T8" fmla="*/ 310 w 336"/>
                <a:gd name="T9" fmla="*/ 305 h 346"/>
                <a:gd name="T10" fmla="*/ 281 w 336"/>
                <a:gd name="T11" fmla="*/ 305 h 346"/>
                <a:gd name="T12" fmla="*/ 336 w 336"/>
                <a:gd name="T13" fmla="*/ 346 h 346"/>
                <a:gd name="T14" fmla="*/ 336 w 336"/>
                <a:gd name="T15" fmla="*/ 0 h 346"/>
                <a:gd name="T16" fmla="*/ 168 w 336"/>
                <a:gd name="T17" fmla="*/ 0 h 346"/>
                <a:gd name="T18" fmla="*/ 267 w 336"/>
                <a:gd name="T19" fmla="*/ 24 h 346"/>
                <a:gd name="T20" fmla="*/ 168 w 336"/>
                <a:gd name="T21" fmla="*/ 45 h 346"/>
                <a:gd name="T22" fmla="*/ 281 w 336"/>
                <a:gd name="T23" fmla="*/ 73 h 346"/>
                <a:gd name="T24" fmla="*/ 281 w 336"/>
                <a:gd name="T25" fmla="*/ 0 h 346"/>
                <a:gd name="T26" fmla="*/ 281 w 336"/>
                <a:gd name="T27" fmla="*/ 346 h 346"/>
                <a:gd name="T28" fmla="*/ 250 w 336"/>
                <a:gd name="T29" fmla="*/ 305 h 346"/>
                <a:gd name="T30" fmla="*/ 281 w 336"/>
                <a:gd name="T31" fmla="*/ 275 h 346"/>
                <a:gd name="T32" fmla="*/ 168 w 336"/>
                <a:gd name="T33" fmla="*/ 241 h 346"/>
                <a:gd name="T34" fmla="*/ 168 w 336"/>
                <a:gd name="T35" fmla="*/ 0 h 346"/>
                <a:gd name="T36" fmla="*/ 56 w 336"/>
                <a:gd name="T37" fmla="*/ 73 h 346"/>
                <a:gd name="T38" fmla="*/ 168 w 336"/>
                <a:gd name="T39" fmla="*/ 45 h 346"/>
                <a:gd name="T40" fmla="*/ 71 w 336"/>
                <a:gd name="T41" fmla="*/ 24 h 346"/>
                <a:gd name="T42" fmla="*/ 168 w 336"/>
                <a:gd name="T43" fmla="*/ 24 h 346"/>
                <a:gd name="T44" fmla="*/ 168 w 336"/>
                <a:gd name="T45" fmla="*/ 0 h 346"/>
                <a:gd name="T46" fmla="*/ 168 w 336"/>
                <a:gd name="T47" fmla="*/ 346 h 346"/>
                <a:gd name="T48" fmla="*/ 56 w 336"/>
                <a:gd name="T49" fmla="*/ 241 h 346"/>
                <a:gd name="T50" fmla="*/ 85 w 336"/>
                <a:gd name="T51" fmla="*/ 275 h 346"/>
                <a:gd name="T52" fmla="*/ 85 w 336"/>
                <a:gd name="T53" fmla="*/ 305 h 346"/>
                <a:gd name="T54" fmla="*/ 56 w 336"/>
                <a:gd name="T55" fmla="*/ 346 h 346"/>
                <a:gd name="T56" fmla="*/ 0 w 336"/>
                <a:gd name="T57" fmla="*/ 0 h 346"/>
                <a:gd name="T58" fmla="*/ 56 w 336"/>
                <a:gd name="T59" fmla="*/ 346 h 346"/>
                <a:gd name="T60" fmla="*/ 26 w 336"/>
                <a:gd name="T61" fmla="*/ 305 h 346"/>
                <a:gd name="T62" fmla="*/ 56 w 336"/>
                <a:gd name="T63" fmla="*/ 275 h 346"/>
                <a:gd name="T64" fmla="*/ 26 w 336"/>
                <a:gd name="T65" fmla="*/ 241 h 346"/>
                <a:gd name="T66" fmla="*/ 56 w 336"/>
                <a:gd name="T67" fmla="*/ 7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6" h="346">
                  <a:moveTo>
                    <a:pt x="336" y="0"/>
                  </a:moveTo>
                  <a:lnTo>
                    <a:pt x="281" y="0"/>
                  </a:lnTo>
                  <a:lnTo>
                    <a:pt x="281" y="73"/>
                  </a:lnTo>
                  <a:lnTo>
                    <a:pt x="310" y="73"/>
                  </a:lnTo>
                  <a:lnTo>
                    <a:pt x="310" y="241"/>
                  </a:lnTo>
                  <a:lnTo>
                    <a:pt x="310" y="241"/>
                  </a:lnTo>
                  <a:lnTo>
                    <a:pt x="281" y="241"/>
                  </a:lnTo>
                  <a:lnTo>
                    <a:pt x="281" y="275"/>
                  </a:lnTo>
                  <a:lnTo>
                    <a:pt x="310" y="275"/>
                  </a:lnTo>
                  <a:lnTo>
                    <a:pt x="310" y="305"/>
                  </a:lnTo>
                  <a:lnTo>
                    <a:pt x="310" y="305"/>
                  </a:lnTo>
                  <a:lnTo>
                    <a:pt x="281" y="305"/>
                  </a:lnTo>
                  <a:lnTo>
                    <a:pt x="281" y="346"/>
                  </a:lnTo>
                  <a:lnTo>
                    <a:pt x="336" y="346"/>
                  </a:lnTo>
                  <a:lnTo>
                    <a:pt x="336" y="0"/>
                  </a:lnTo>
                  <a:lnTo>
                    <a:pt x="336" y="0"/>
                  </a:lnTo>
                  <a:close/>
                  <a:moveTo>
                    <a:pt x="281" y="0"/>
                  </a:moveTo>
                  <a:lnTo>
                    <a:pt x="168" y="0"/>
                  </a:lnTo>
                  <a:lnTo>
                    <a:pt x="168" y="24"/>
                  </a:lnTo>
                  <a:lnTo>
                    <a:pt x="267" y="24"/>
                  </a:lnTo>
                  <a:lnTo>
                    <a:pt x="267" y="45"/>
                  </a:lnTo>
                  <a:lnTo>
                    <a:pt x="168" y="45"/>
                  </a:lnTo>
                  <a:lnTo>
                    <a:pt x="168" y="73"/>
                  </a:lnTo>
                  <a:lnTo>
                    <a:pt x="281" y="73"/>
                  </a:lnTo>
                  <a:lnTo>
                    <a:pt x="281" y="0"/>
                  </a:lnTo>
                  <a:lnTo>
                    <a:pt x="281" y="0"/>
                  </a:lnTo>
                  <a:close/>
                  <a:moveTo>
                    <a:pt x="168" y="346"/>
                  </a:moveTo>
                  <a:lnTo>
                    <a:pt x="281" y="346"/>
                  </a:lnTo>
                  <a:lnTo>
                    <a:pt x="281" y="305"/>
                  </a:lnTo>
                  <a:lnTo>
                    <a:pt x="250" y="305"/>
                  </a:lnTo>
                  <a:lnTo>
                    <a:pt x="250" y="275"/>
                  </a:lnTo>
                  <a:lnTo>
                    <a:pt x="281" y="275"/>
                  </a:lnTo>
                  <a:lnTo>
                    <a:pt x="281" y="241"/>
                  </a:lnTo>
                  <a:lnTo>
                    <a:pt x="168" y="241"/>
                  </a:lnTo>
                  <a:lnTo>
                    <a:pt x="168" y="346"/>
                  </a:lnTo>
                  <a:close/>
                  <a:moveTo>
                    <a:pt x="168" y="0"/>
                  </a:moveTo>
                  <a:lnTo>
                    <a:pt x="56" y="0"/>
                  </a:lnTo>
                  <a:lnTo>
                    <a:pt x="56" y="73"/>
                  </a:lnTo>
                  <a:lnTo>
                    <a:pt x="168" y="73"/>
                  </a:lnTo>
                  <a:lnTo>
                    <a:pt x="168" y="45"/>
                  </a:lnTo>
                  <a:lnTo>
                    <a:pt x="71" y="45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168" y="24"/>
                  </a:lnTo>
                  <a:lnTo>
                    <a:pt x="168" y="0"/>
                  </a:lnTo>
                  <a:lnTo>
                    <a:pt x="168" y="0"/>
                  </a:lnTo>
                  <a:close/>
                  <a:moveTo>
                    <a:pt x="56" y="346"/>
                  </a:moveTo>
                  <a:lnTo>
                    <a:pt x="168" y="346"/>
                  </a:lnTo>
                  <a:lnTo>
                    <a:pt x="168" y="241"/>
                  </a:lnTo>
                  <a:lnTo>
                    <a:pt x="56" y="241"/>
                  </a:lnTo>
                  <a:lnTo>
                    <a:pt x="56" y="275"/>
                  </a:lnTo>
                  <a:lnTo>
                    <a:pt x="85" y="275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56" y="305"/>
                  </a:lnTo>
                  <a:lnTo>
                    <a:pt x="56" y="346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346"/>
                  </a:lnTo>
                  <a:lnTo>
                    <a:pt x="56" y="346"/>
                  </a:lnTo>
                  <a:lnTo>
                    <a:pt x="56" y="305"/>
                  </a:lnTo>
                  <a:lnTo>
                    <a:pt x="26" y="305"/>
                  </a:lnTo>
                  <a:lnTo>
                    <a:pt x="26" y="275"/>
                  </a:lnTo>
                  <a:lnTo>
                    <a:pt x="56" y="275"/>
                  </a:lnTo>
                  <a:lnTo>
                    <a:pt x="56" y="241"/>
                  </a:lnTo>
                  <a:lnTo>
                    <a:pt x="26" y="241"/>
                  </a:lnTo>
                  <a:lnTo>
                    <a:pt x="26" y="73"/>
                  </a:lnTo>
                  <a:lnTo>
                    <a:pt x="56" y="73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3" name="矩形 1572"/>
            <p:cNvSpPr/>
            <p:nvPr>
              <p:custDataLst>
                <p:tags r:id="rId165"/>
              </p:custDataLst>
            </p:nvPr>
          </p:nvSpPr>
          <p:spPr bwMode="auto">
            <a:xfrm flipH="1">
              <a:off x="1931895" y="3975535"/>
              <a:ext cx="320946" cy="3524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4" name="任意多边形: 形状 1573"/>
            <p:cNvSpPr/>
            <p:nvPr>
              <p:custDataLst>
                <p:tags r:id="rId166"/>
              </p:custDataLst>
            </p:nvPr>
          </p:nvSpPr>
          <p:spPr bwMode="auto">
            <a:xfrm flipH="1">
              <a:off x="1931895" y="4046887"/>
              <a:ext cx="320946" cy="122071"/>
            </a:xfrm>
            <a:custGeom>
              <a:avLst/>
              <a:gdLst>
                <a:gd name="T0" fmla="*/ 298 w 352"/>
                <a:gd name="T1" fmla="*/ 142 h 142"/>
                <a:gd name="T2" fmla="*/ 352 w 352"/>
                <a:gd name="T3" fmla="*/ 142 h 142"/>
                <a:gd name="T4" fmla="*/ 352 w 352"/>
                <a:gd name="T5" fmla="*/ 0 h 142"/>
                <a:gd name="T6" fmla="*/ 298 w 352"/>
                <a:gd name="T7" fmla="*/ 0 h 142"/>
                <a:gd name="T8" fmla="*/ 298 w 352"/>
                <a:gd name="T9" fmla="*/ 69 h 142"/>
                <a:gd name="T10" fmla="*/ 298 w 352"/>
                <a:gd name="T11" fmla="*/ 69 h 142"/>
                <a:gd name="T12" fmla="*/ 324 w 352"/>
                <a:gd name="T13" fmla="*/ 95 h 142"/>
                <a:gd name="T14" fmla="*/ 298 w 352"/>
                <a:gd name="T15" fmla="*/ 121 h 142"/>
                <a:gd name="T16" fmla="*/ 298 w 352"/>
                <a:gd name="T17" fmla="*/ 142 h 142"/>
                <a:gd name="T18" fmla="*/ 0 w 352"/>
                <a:gd name="T19" fmla="*/ 142 h 142"/>
                <a:gd name="T20" fmla="*/ 298 w 352"/>
                <a:gd name="T21" fmla="*/ 142 h 142"/>
                <a:gd name="T22" fmla="*/ 298 w 352"/>
                <a:gd name="T23" fmla="*/ 121 h 142"/>
                <a:gd name="T24" fmla="*/ 272 w 352"/>
                <a:gd name="T25" fmla="*/ 95 h 142"/>
                <a:gd name="T26" fmla="*/ 298 w 352"/>
                <a:gd name="T27" fmla="*/ 69 h 142"/>
                <a:gd name="T28" fmla="*/ 298 w 352"/>
                <a:gd name="T29" fmla="*/ 0 h 142"/>
                <a:gd name="T30" fmla="*/ 0 w 352"/>
                <a:gd name="T31" fmla="*/ 0 h 142"/>
                <a:gd name="T32" fmla="*/ 0 w 352"/>
                <a:gd name="T33" fmla="*/ 142 h 142"/>
                <a:gd name="T34" fmla="*/ 0 w 352"/>
                <a:gd name="T35" fmla="*/ 142 h 142"/>
                <a:gd name="T36" fmla="*/ 298 w 352"/>
                <a:gd name="T37" fmla="*/ 69 h 142"/>
                <a:gd name="T38" fmla="*/ 298 w 352"/>
                <a:gd name="T39" fmla="*/ 6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2" h="142">
                  <a:moveTo>
                    <a:pt x="298" y="142"/>
                  </a:moveTo>
                  <a:lnTo>
                    <a:pt x="352" y="142"/>
                  </a:lnTo>
                  <a:lnTo>
                    <a:pt x="352" y="0"/>
                  </a:lnTo>
                  <a:lnTo>
                    <a:pt x="298" y="0"/>
                  </a:lnTo>
                  <a:lnTo>
                    <a:pt x="298" y="69"/>
                  </a:lnTo>
                  <a:lnTo>
                    <a:pt x="298" y="69"/>
                  </a:lnTo>
                  <a:lnTo>
                    <a:pt x="324" y="95"/>
                  </a:lnTo>
                  <a:lnTo>
                    <a:pt x="298" y="121"/>
                  </a:lnTo>
                  <a:lnTo>
                    <a:pt x="298" y="142"/>
                  </a:lnTo>
                  <a:close/>
                  <a:moveTo>
                    <a:pt x="0" y="142"/>
                  </a:moveTo>
                  <a:lnTo>
                    <a:pt x="298" y="142"/>
                  </a:lnTo>
                  <a:lnTo>
                    <a:pt x="298" y="121"/>
                  </a:lnTo>
                  <a:lnTo>
                    <a:pt x="272" y="95"/>
                  </a:lnTo>
                  <a:lnTo>
                    <a:pt x="298" y="69"/>
                  </a:lnTo>
                  <a:lnTo>
                    <a:pt x="298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0" y="142"/>
                  </a:lnTo>
                  <a:close/>
                  <a:moveTo>
                    <a:pt x="298" y="69"/>
                  </a:moveTo>
                  <a:lnTo>
                    <a:pt x="298" y="6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5" name="任意多边形: 形状 1574"/>
            <p:cNvSpPr/>
            <p:nvPr>
              <p:custDataLst>
                <p:tags r:id="rId167"/>
              </p:custDataLst>
            </p:nvPr>
          </p:nvSpPr>
          <p:spPr bwMode="auto">
            <a:xfrm flipH="1">
              <a:off x="1931895" y="4046887"/>
              <a:ext cx="320946" cy="122071"/>
            </a:xfrm>
            <a:custGeom>
              <a:avLst/>
              <a:gdLst>
                <a:gd name="T0" fmla="*/ 298 w 352"/>
                <a:gd name="T1" fmla="*/ 142 h 142"/>
                <a:gd name="T2" fmla="*/ 352 w 352"/>
                <a:gd name="T3" fmla="*/ 142 h 142"/>
                <a:gd name="T4" fmla="*/ 352 w 352"/>
                <a:gd name="T5" fmla="*/ 0 h 142"/>
                <a:gd name="T6" fmla="*/ 298 w 352"/>
                <a:gd name="T7" fmla="*/ 0 h 142"/>
                <a:gd name="T8" fmla="*/ 298 w 352"/>
                <a:gd name="T9" fmla="*/ 69 h 142"/>
                <a:gd name="T10" fmla="*/ 298 w 352"/>
                <a:gd name="T11" fmla="*/ 69 h 142"/>
                <a:gd name="T12" fmla="*/ 324 w 352"/>
                <a:gd name="T13" fmla="*/ 95 h 142"/>
                <a:gd name="T14" fmla="*/ 298 w 352"/>
                <a:gd name="T15" fmla="*/ 121 h 142"/>
                <a:gd name="T16" fmla="*/ 298 w 352"/>
                <a:gd name="T17" fmla="*/ 142 h 142"/>
                <a:gd name="T18" fmla="*/ 0 w 352"/>
                <a:gd name="T19" fmla="*/ 142 h 142"/>
                <a:gd name="T20" fmla="*/ 298 w 352"/>
                <a:gd name="T21" fmla="*/ 142 h 142"/>
                <a:gd name="T22" fmla="*/ 298 w 352"/>
                <a:gd name="T23" fmla="*/ 121 h 142"/>
                <a:gd name="T24" fmla="*/ 272 w 352"/>
                <a:gd name="T25" fmla="*/ 95 h 142"/>
                <a:gd name="T26" fmla="*/ 298 w 352"/>
                <a:gd name="T27" fmla="*/ 69 h 142"/>
                <a:gd name="T28" fmla="*/ 298 w 352"/>
                <a:gd name="T29" fmla="*/ 0 h 142"/>
                <a:gd name="T30" fmla="*/ 0 w 352"/>
                <a:gd name="T31" fmla="*/ 0 h 142"/>
                <a:gd name="T32" fmla="*/ 0 w 352"/>
                <a:gd name="T33" fmla="*/ 142 h 142"/>
                <a:gd name="T34" fmla="*/ 0 w 352"/>
                <a:gd name="T35" fmla="*/ 142 h 142"/>
                <a:gd name="T36" fmla="*/ 298 w 352"/>
                <a:gd name="T37" fmla="*/ 69 h 142"/>
                <a:gd name="T38" fmla="*/ 298 w 352"/>
                <a:gd name="T39" fmla="*/ 6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2" h="142">
                  <a:moveTo>
                    <a:pt x="298" y="142"/>
                  </a:moveTo>
                  <a:lnTo>
                    <a:pt x="352" y="142"/>
                  </a:lnTo>
                  <a:lnTo>
                    <a:pt x="352" y="0"/>
                  </a:lnTo>
                  <a:lnTo>
                    <a:pt x="298" y="0"/>
                  </a:lnTo>
                  <a:lnTo>
                    <a:pt x="298" y="69"/>
                  </a:lnTo>
                  <a:lnTo>
                    <a:pt x="298" y="69"/>
                  </a:lnTo>
                  <a:lnTo>
                    <a:pt x="324" y="95"/>
                  </a:lnTo>
                  <a:lnTo>
                    <a:pt x="298" y="121"/>
                  </a:lnTo>
                  <a:lnTo>
                    <a:pt x="298" y="142"/>
                  </a:lnTo>
                  <a:moveTo>
                    <a:pt x="0" y="142"/>
                  </a:moveTo>
                  <a:lnTo>
                    <a:pt x="298" y="142"/>
                  </a:lnTo>
                  <a:lnTo>
                    <a:pt x="298" y="121"/>
                  </a:lnTo>
                  <a:lnTo>
                    <a:pt x="272" y="95"/>
                  </a:lnTo>
                  <a:lnTo>
                    <a:pt x="298" y="69"/>
                  </a:lnTo>
                  <a:lnTo>
                    <a:pt x="298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0" y="142"/>
                  </a:lnTo>
                  <a:moveTo>
                    <a:pt x="298" y="69"/>
                  </a:moveTo>
                  <a:lnTo>
                    <a:pt x="298" y="69"/>
                  </a:lnTo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6" name="任意多边形: 形状 1575"/>
            <p:cNvSpPr/>
            <p:nvPr>
              <p:custDataLst>
                <p:tags r:id="rId168"/>
              </p:custDataLst>
            </p:nvPr>
          </p:nvSpPr>
          <p:spPr bwMode="auto">
            <a:xfrm flipH="1">
              <a:off x="2302988" y="5571921"/>
              <a:ext cx="301799" cy="177090"/>
            </a:xfrm>
            <a:custGeom>
              <a:avLst/>
              <a:gdLst>
                <a:gd name="T0" fmla="*/ 260 w 331"/>
                <a:gd name="T1" fmla="*/ 206 h 206"/>
                <a:gd name="T2" fmla="*/ 331 w 331"/>
                <a:gd name="T3" fmla="*/ 206 h 206"/>
                <a:gd name="T4" fmla="*/ 331 w 331"/>
                <a:gd name="T5" fmla="*/ 114 h 206"/>
                <a:gd name="T6" fmla="*/ 291 w 331"/>
                <a:gd name="T7" fmla="*/ 114 h 206"/>
                <a:gd name="T8" fmla="*/ 291 w 331"/>
                <a:gd name="T9" fmla="*/ 0 h 206"/>
                <a:gd name="T10" fmla="*/ 260 w 331"/>
                <a:gd name="T11" fmla="*/ 0 h 206"/>
                <a:gd name="T12" fmla="*/ 260 w 331"/>
                <a:gd name="T13" fmla="*/ 144 h 206"/>
                <a:gd name="T14" fmla="*/ 289 w 331"/>
                <a:gd name="T15" fmla="*/ 144 h 206"/>
                <a:gd name="T16" fmla="*/ 289 w 331"/>
                <a:gd name="T17" fmla="*/ 185 h 206"/>
                <a:gd name="T18" fmla="*/ 289 w 331"/>
                <a:gd name="T19" fmla="*/ 185 h 206"/>
                <a:gd name="T20" fmla="*/ 260 w 331"/>
                <a:gd name="T21" fmla="*/ 185 h 206"/>
                <a:gd name="T22" fmla="*/ 260 w 331"/>
                <a:gd name="T23" fmla="*/ 206 h 206"/>
                <a:gd name="T24" fmla="*/ 215 w 331"/>
                <a:gd name="T25" fmla="*/ 0 h 206"/>
                <a:gd name="T26" fmla="*/ 215 w 331"/>
                <a:gd name="T27" fmla="*/ 114 h 206"/>
                <a:gd name="T28" fmla="*/ 166 w 331"/>
                <a:gd name="T29" fmla="*/ 114 h 206"/>
                <a:gd name="T30" fmla="*/ 166 w 331"/>
                <a:gd name="T31" fmla="*/ 144 h 206"/>
                <a:gd name="T32" fmla="*/ 194 w 331"/>
                <a:gd name="T33" fmla="*/ 144 h 206"/>
                <a:gd name="T34" fmla="*/ 194 w 331"/>
                <a:gd name="T35" fmla="*/ 185 h 206"/>
                <a:gd name="T36" fmla="*/ 194 w 331"/>
                <a:gd name="T37" fmla="*/ 185 h 206"/>
                <a:gd name="T38" fmla="*/ 166 w 331"/>
                <a:gd name="T39" fmla="*/ 185 h 206"/>
                <a:gd name="T40" fmla="*/ 166 w 331"/>
                <a:gd name="T41" fmla="*/ 206 h 206"/>
                <a:gd name="T42" fmla="*/ 260 w 331"/>
                <a:gd name="T43" fmla="*/ 206 h 206"/>
                <a:gd name="T44" fmla="*/ 260 w 331"/>
                <a:gd name="T45" fmla="*/ 185 h 206"/>
                <a:gd name="T46" fmla="*/ 232 w 331"/>
                <a:gd name="T47" fmla="*/ 185 h 206"/>
                <a:gd name="T48" fmla="*/ 232 w 331"/>
                <a:gd name="T49" fmla="*/ 144 h 206"/>
                <a:gd name="T50" fmla="*/ 260 w 331"/>
                <a:gd name="T51" fmla="*/ 144 h 206"/>
                <a:gd name="T52" fmla="*/ 260 w 331"/>
                <a:gd name="T53" fmla="*/ 0 h 206"/>
                <a:gd name="T54" fmla="*/ 215 w 331"/>
                <a:gd name="T55" fmla="*/ 0 h 206"/>
                <a:gd name="T56" fmla="*/ 166 w 331"/>
                <a:gd name="T57" fmla="*/ 114 h 206"/>
                <a:gd name="T58" fmla="*/ 71 w 331"/>
                <a:gd name="T59" fmla="*/ 114 h 206"/>
                <a:gd name="T60" fmla="*/ 71 w 331"/>
                <a:gd name="T61" fmla="*/ 144 h 206"/>
                <a:gd name="T62" fmla="*/ 99 w 331"/>
                <a:gd name="T63" fmla="*/ 144 h 206"/>
                <a:gd name="T64" fmla="*/ 99 w 331"/>
                <a:gd name="T65" fmla="*/ 185 h 206"/>
                <a:gd name="T66" fmla="*/ 99 w 331"/>
                <a:gd name="T67" fmla="*/ 185 h 206"/>
                <a:gd name="T68" fmla="*/ 71 w 331"/>
                <a:gd name="T69" fmla="*/ 185 h 206"/>
                <a:gd name="T70" fmla="*/ 71 w 331"/>
                <a:gd name="T71" fmla="*/ 206 h 206"/>
                <a:gd name="T72" fmla="*/ 166 w 331"/>
                <a:gd name="T73" fmla="*/ 206 h 206"/>
                <a:gd name="T74" fmla="*/ 166 w 331"/>
                <a:gd name="T75" fmla="*/ 185 h 206"/>
                <a:gd name="T76" fmla="*/ 137 w 331"/>
                <a:gd name="T77" fmla="*/ 185 h 206"/>
                <a:gd name="T78" fmla="*/ 137 w 331"/>
                <a:gd name="T79" fmla="*/ 144 h 206"/>
                <a:gd name="T80" fmla="*/ 166 w 331"/>
                <a:gd name="T81" fmla="*/ 144 h 206"/>
                <a:gd name="T82" fmla="*/ 166 w 331"/>
                <a:gd name="T83" fmla="*/ 114 h 206"/>
                <a:gd name="T84" fmla="*/ 71 w 331"/>
                <a:gd name="T85" fmla="*/ 114 h 206"/>
                <a:gd name="T86" fmla="*/ 0 w 331"/>
                <a:gd name="T87" fmla="*/ 114 h 206"/>
                <a:gd name="T88" fmla="*/ 0 w 331"/>
                <a:gd name="T89" fmla="*/ 206 h 206"/>
                <a:gd name="T90" fmla="*/ 71 w 331"/>
                <a:gd name="T91" fmla="*/ 206 h 206"/>
                <a:gd name="T92" fmla="*/ 71 w 331"/>
                <a:gd name="T93" fmla="*/ 185 h 206"/>
                <a:gd name="T94" fmla="*/ 43 w 331"/>
                <a:gd name="T95" fmla="*/ 185 h 206"/>
                <a:gd name="T96" fmla="*/ 43 w 331"/>
                <a:gd name="T97" fmla="*/ 144 h 206"/>
                <a:gd name="T98" fmla="*/ 71 w 331"/>
                <a:gd name="T99" fmla="*/ 144 h 206"/>
                <a:gd name="T100" fmla="*/ 71 w 331"/>
                <a:gd name="T101" fmla="*/ 11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1" h="206">
                  <a:moveTo>
                    <a:pt x="260" y="206"/>
                  </a:moveTo>
                  <a:lnTo>
                    <a:pt x="331" y="206"/>
                  </a:lnTo>
                  <a:lnTo>
                    <a:pt x="331" y="114"/>
                  </a:lnTo>
                  <a:lnTo>
                    <a:pt x="291" y="114"/>
                  </a:lnTo>
                  <a:lnTo>
                    <a:pt x="291" y="0"/>
                  </a:lnTo>
                  <a:lnTo>
                    <a:pt x="260" y="0"/>
                  </a:lnTo>
                  <a:lnTo>
                    <a:pt x="260" y="144"/>
                  </a:lnTo>
                  <a:lnTo>
                    <a:pt x="289" y="144"/>
                  </a:lnTo>
                  <a:lnTo>
                    <a:pt x="289" y="185"/>
                  </a:lnTo>
                  <a:lnTo>
                    <a:pt x="289" y="185"/>
                  </a:lnTo>
                  <a:lnTo>
                    <a:pt x="260" y="185"/>
                  </a:lnTo>
                  <a:lnTo>
                    <a:pt x="260" y="206"/>
                  </a:lnTo>
                  <a:close/>
                  <a:moveTo>
                    <a:pt x="215" y="0"/>
                  </a:moveTo>
                  <a:lnTo>
                    <a:pt x="215" y="114"/>
                  </a:lnTo>
                  <a:lnTo>
                    <a:pt x="166" y="114"/>
                  </a:lnTo>
                  <a:lnTo>
                    <a:pt x="166" y="144"/>
                  </a:lnTo>
                  <a:lnTo>
                    <a:pt x="194" y="144"/>
                  </a:lnTo>
                  <a:lnTo>
                    <a:pt x="194" y="185"/>
                  </a:lnTo>
                  <a:lnTo>
                    <a:pt x="194" y="185"/>
                  </a:lnTo>
                  <a:lnTo>
                    <a:pt x="166" y="185"/>
                  </a:lnTo>
                  <a:lnTo>
                    <a:pt x="166" y="206"/>
                  </a:lnTo>
                  <a:lnTo>
                    <a:pt x="260" y="206"/>
                  </a:lnTo>
                  <a:lnTo>
                    <a:pt x="260" y="185"/>
                  </a:lnTo>
                  <a:lnTo>
                    <a:pt x="232" y="185"/>
                  </a:lnTo>
                  <a:lnTo>
                    <a:pt x="232" y="144"/>
                  </a:lnTo>
                  <a:lnTo>
                    <a:pt x="260" y="144"/>
                  </a:lnTo>
                  <a:lnTo>
                    <a:pt x="260" y="0"/>
                  </a:lnTo>
                  <a:lnTo>
                    <a:pt x="215" y="0"/>
                  </a:lnTo>
                  <a:close/>
                  <a:moveTo>
                    <a:pt x="166" y="114"/>
                  </a:moveTo>
                  <a:lnTo>
                    <a:pt x="71" y="114"/>
                  </a:lnTo>
                  <a:lnTo>
                    <a:pt x="71" y="144"/>
                  </a:lnTo>
                  <a:lnTo>
                    <a:pt x="99" y="144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71" y="185"/>
                  </a:lnTo>
                  <a:lnTo>
                    <a:pt x="71" y="206"/>
                  </a:lnTo>
                  <a:lnTo>
                    <a:pt x="166" y="206"/>
                  </a:lnTo>
                  <a:lnTo>
                    <a:pt x="166" y="185"/>
                  </a:lnTo>
                  <a:lnTo>
                    <a:pt x="137" y="185"/>
                  </a:lnTo>
                  <a:lnTo>
                    <a:pt x="137" y="144"/>
                  </a:lnTo>
                  <a:lnTo>
                    <a:pt x="166" y="144"/>
                  </a:lnTo>
                  <a:lnTo>
                    <a:pt x="166" y="114"/>
                  </a:lnTo>
                  <a:close/>
                  <a:moveTo>
                    <a:pt x="71" y="114"/>
                  </a:moveTo>
                  <a:lnTo>
                    <a:pt x="0" y="114"/>
                  </a:lnTo>
                  <a:lnTo>
                    <a:pt x="0" y="206"/>
                  </a:lnTo>
                  <a:lnTo>
                    <a:pt x="71" y="206"/>
                  </a:lnTo>
                  <a:lnTo>
                    <a:pt x="71" y="185"/>
                  </a:lnTo>
                  <a:lnTo>
                    <a:pt x="43" y="185"/>
                  </a:lnTo>
                  <a:lnTo>
                    <a:pt x="43" y="144"/>
                  </a:lnTo>
                  <a:lnTo>
                    <a:pt x="71" y="144"/>
                  </a:lnTo>
                  <a:lnTo>
                    <a:pt x="71" y="11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7" name="任意多边形: 形状 1576"/>
            <p:cNvSpPr/>
            <p:nvPr>
              <p:custDataLst>
                <p:tags r:id="rId169"/>
              </p:custDataLst>
            </p:nvPr>
          </p:nvSpPr>
          <p:spPr bwMode="auto">
            <a:xfrm flipH="1">
              <a:off x="2268340" y="5759327"/>
              <a:ext cx="407565" cy="123791"/>
            </a:xfrm>
            <a:custGeom>
              <a:avLst/>
              <a:gdLst>
                <a:gd name="T0" fmla="*/ 431 w 447"/>
                <a:gd name="T1" fmla="*/ 144 h 144"/>
                <a:gd name="T2" fmla="*/ 447 w 447"/>
                <a:gd name="T3" fmla="*/ 0 h 144"/>
                <a:gd name="T4" fmla="*/ 0 w 447"/>
                <a:gd name="T5" fmla="*/ 0 h 144"/>
                <a:gd name="T6" fmla="*/ 50 w 447"/>
                <a:gd name="T7" fmla="*/ 144 h 144"/>
                <a:gd name="T8" fmla="*/ 431 w 447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144">
                  <a:moveTo>
                    <a:pt x="431" y="144"/>
                  </a:moveTo>
                  <a:lnTo>
                    <a:pt x="447" y="0"/>
                  </a:lnTo>
                  <a:lnTo>
                    <a:pt x="0" y="0"/>
                  </a:lnTo>
                  <a:lnTo>
                    <a:pt x="50" y="144"/>
                  </a:lnTo>
                  <a:lnTo>
                    <a:pt x="431" y="14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8" name="椭圆 1577"/>
            <p:cNvSpPr/>
            <p:nvPr>
              <p:custDataLst>
                <p:tags r:id="rId170"/>
              </p:custDataLst>
            </p:nvPr>
          </p:nvSpPr>
          <p:spPr bwMode="auto">
            <a:xfrm flipH="1">
              <a:off x="3252150" y="1957058"/>
              <a:ext cx="88443" cy="8338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79" name="任意多边形: 形状 1578"/>
            <p:cNvSpPr/>
            <p:nvPr>
              <p:custDataLst>
                <p:tags r:id="rId171"/>
              </p:custDataLst>
            </p:nvPr>
          </p:nvSpPr>
          <p:spPr bwMode="auto">
            <a:xfrm flipH="1">
              <a:off x="3152766" y="2034428"/>
              <a:ext cx="416683" cy="304319"/>
            </a:xfrm>
            <a:custGeom>
              <a:avLst/>
              <a:gdLst>
                <a:gd name="T0" fmla="*/ 367 w 457"/>
                <a:gd name="T1" fmla="*/ 73 h 354"/>
                <a:gd name="T2" fmla="*/ 315 w 457"/>
                <a:gd name="T3" fmla="*/ 33 h 354"/>
                <a:gd name="T4" fmla="*/ 230 w 457"/>
                <a:gd name="T5" fmla="*/ 0 h 354"/>
                <a:gd name="T6" fmla="*/ 126 w 457"/>
                <a:gd name="T7" fmla="*/ 0 h 354"/>
                <a:gd name="T8" fmla="*/ 74 w 457"/>
                <a:gd name="T9" fmla="*/ 113 h 354"/>
                <a:gd name="T10" fmla="*/ 62 w 457"/>
                <a:gd name="T11" fmla="*/ 108 h 354"/>
                <a:gd name="T12" fmla="*/ 55 w 457"/>
                <a:gd name="T13" fmla="*/ 120 h 354"/>
                <a:gd name="T14" fmla="*/ 55 w 457"/>
                <a:gd name="T15" fmla="*/ 125 h 354"/>
                <a:gd name="T16" fmla="*/ 52 w 457"/>
                <a:gd name="T17" fmla="*/ 130 h 354"/>
                <a:gd name="T18" fmla="*/ 36 w 457"/>
                <a:gd name="T19" fmla="*/ 125 h 354"/>
                <a:gd name="T20" fmla="*/ 0 w 457"/>
                <a:gd name="T21" fmla="*/ 210 h 354"/>
                <a:gd name="T22" fmla="*/ 83 w 457"/>
                <a:gd name="T23" fmla="*/ 246 h 354"/>
                <a:gd name="T24" fmla="*/ 90 w 457"/>
                <a:gd name="T25" fmla="*/ 250 h 354"/>
                <a:gd name="T26" fmla="*/ 93 w 457"/>
                <a:gd name="T27" fmla="*/ 246 h 354"/>
                <a:gd name="T28" fmla="*/ 128 w 457"/>
                <a:gd name="T29" fmla="*/ 163 h 354"/>
                <a:gd name="T30" fmla="*/ 112 w 457"/>
                <a:gd name="T31" fmla="*/ 156 h 354"/>
                <a:gd name="T32" fmla="*/ 114 w 457"/>
                <a:gd name="T33" fmla="*/ 151 h 354"/>
                <a:gd name="T34" fmla="*/ 116 w 457"/>
                <a:gd name="T35" fmla="*/ 146 h 354"/>
                <a:gd name="T36" fmla="*/ 121 w 457"/>
                <a:gd name="T37" fmla="*/ 134 h 354"/>
                <a:gd name="T38" fmla="*/ 107 w 457"/>
                <a:gd name="T39" fmla="*/ 127 h 354"/>
                <a:gd name="T40" fmla="*/ 147 w 457"/>
                <a:gd name="T41" fmla="*/ 35 h 354"/>
                <a:gd name="T42" fmla="*/ 218 w 457"/>
                <a:gd name="T43" fmla="*/ 35 h 354"/>
                <a:gd name="T44" fmla="*/ 171 w 457"/>
                <a:gd name="T45" fmla="*/ 168 h 354"/>
                <a:gd name="T46" fmla="*/ 159 w 457"/>
                <a:gd name="T47" fmla="*/ 241 h 354"/>
                <a:gd name="T48" fmla="*/ 138 w 457"/>
                <a:gd name="T49" fmla="*/ 243 h 354"/>
                <a:gd name="T50" fmla="*/ 128 w 457"/>
                <a:gd name="T51" fmla="*/ 265 h 354"/>
                <a:gd name="T52" fmla="*/ 123 w 457"/>
                <a:gd name="T53" fmla="*/ 274 h 354"/>
                <a:gd name="T54" fmla="*/ 114 w 457"/>
                <a:gd name="T55" fmla="*/ 269 h 354"/>
                <a:gd name="T56" fmla="*/ 62 w 457"/>
                <a:gd name="T57" fmla="*/ 248 h 354"/>
                <a:gd name="T58" fmla="*/ 52 w 457"/>
                <a:gd name="T59" fmla="*/ 248 h 354"/>
                <a:gd name="T60" fmla="*/ 57 w 457"/>
                <a:gd name="T61" fmla="*/ 295 h 354"/>
                <a:gd name="T62" fmla="*/ 199 w 457"/>
                <a:gd name="T63" fmla="*/ 286 h 354"/>
                <a:gd name="T64" fmla="*/ 213 w 457"/>
                <a:gd name="T65" fmla="*/ 198 h 354"/>
                <a:gd name="T66" fmla="*/ 218 w 457"/>
                <a:gd name="T67" fmla="*/ 201 h 354"/>
                <a:gd name="T68" fmla="*/ 272 w 457"/>
                <a:gd name="T69" fmla="*/ 243 h 354"/>
                <a:gd name="T70" fmla="*/ 280 w 457"/>
                <a:gd name="T71" fmla="*/ 354 h 354"/>
                <a:gd name="T72" fmla="*/ 327 w 457"/>
                <a:gd name="T73" fmla="*/ 352 h 354"/>
                <a:gd name="T74" fmla="*/ 320 w 457"/>
                <a:gd name="T75" fmla="*/ 217 h 354"/>
                <a:gd name="T76" fmla="*/ 251 w 457"/>
                <a:gd name="T77" fmla="*/ 168 h 354"/>
                <a:gd name="T78" fmla="*/ 301 w 457"/>
                <a:gd name="T79" fmla="*/ 66 h 354"/>
                <a:gd name="T80" fmla="*/ 367 w 457"/>
                <a:gd name="T81" fmla="*/ 118 h 354"/>
                <a:gd name="T82" fmla="*/ 457 w 457"/>
                <a:gd name="T83" fmla="*/ 42 h 354"/>
                <a:gd name="T84" fmla="*/ 433 w 457"/>
                <a:gd name="T85" fmla="*/ 14 h 354"/>
                <a:gd name="T86" fmla="*/ 367 w 457"/>
                <a:gd name="T87" fmla="*/ 7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7" h="354">
                  <a:moveTo>
                    <a:pt x="367" y="73"/>
                  </a:moveTo>
                  <a:lnTo>
                    <a:pt x="315" y="33"/>
                  </a:lnTo>
                  <a:lnTo>
                    <a:pt x="230" y="0"/>
                  </a:lnTo>
                  <a:lnTo>
                    <a:pt x="126" y="0"/>
                  </a:lnTo>
                  <a:lnTo>
                    <a:pt x="74" y="113"/>
                  </a:lnTo>
                  <a:lnTo>
                    <a:pt x="62" y="108"/>
                  </a:lnTo>
                  <a:lnTo>
                    <a:pt x="55" y="120"/>
                  </a:lnTo>
                  <a:lnTo>
                    <a:pt x="55" y="125"/>
                  </a:lnTo>
                  <a:lnTo>
                    <a:pt x="52" y="130"/>
                  </a:lnTo>
                  <a:lnTo>
                    <a:pt x="36" y="125"/>
                  </a:lnTo>
                  <a:lnTo>
                    <a:pt x="0" y="210"/>
                  </a:lnTo>
                  <a:lnTo>
                    <a:pt x="83" y="246"/>
                  </a:lnTo>
                  <a:lnTo>
                    <a:pt x="90" y="250"/>
                  </a:lnTo>
                  <a:lnTo>
                    <a:pt x="93" y="246"/>
                  </a:lnTo>
                  <a:lnTo>
                    <a:pt x="128" y="163"/>
                  </a:lnTo>
                  <a:lnTo>
                    <a:pt x="112" y="156"/>
                  </a:lnTo>
                  <a:lnTo>
                    <a:pt x="114" y="151"/>
                  </a:lnTo>
                  <a:lnTo>
                    <a:pt x="116" y="146"/>
                  </a:lnTo>
                  <a:lnTo>
                    <a:pt x="121" y="134"/>
                  </a:lnTo>
                  <a:lnTo>
                    <a:pt x="107" y="127"/>
                  </a:lnTo>
                  <a:lnTo>
                    <a:pt x="147" y="35"/>
                  </a:lnTo>
                  <a:lnTo>
                    <a:pt x="218" y="35"/>
                  </a:lnTo>
                  <a:lnTo>
                    <a:pt x="171" y="168"/>
                  </a:lnTo>
                  <a:lnTo>
                    <a:pt x="159" y="241"/>
                  </a:lnTo>
                  <a:lnTo>
                    <a:pt x="138" y="243"/>
                  </a:lnTo>
                  <a:lnTo>
                    <a:pt x="128" y="265"/>
                  </a:lnTo>
                  <a:lnTo>
                    <a:pt x="123" y="274"/>
                  </a:lnTo>
                  <a:lnTo>
                    <a:pt x="114" y="269"/>
                  </a:lnTo>
                  <a:lnTo>
                    <a:pt x="62" y="248"/>
                  </a:lnTo>
                  <a:lnTo>
                    <a:pt x="52" y="248"/>
                  </a:lnTo>
                  <a:lnTo>
                    <a:pt x="57" y="295"/>
                  </a:lnTo>
                  <a:lnTo>
                    <a:pt x="199" y="286"/>
                  </a:lnTo>
                  <a:lnTo>
                    <a:pt x="213" y="198"/>
                  </a:lnTo>
                  <a:lnTo>
                    <a:pt x="218" y="201"/>
                  </a:lnTo>
                  <a:lnTo>
                    <a:pt x="272" y="243"/>
                  </a:lnTo>
                  <a:lnTo>
                    <a:pt x="280" y="354"/>
                  </a:lnTo>
                  <a:lnTo>
                    <a:pt x="327" y="352"/>
                  </a:lnTo>
                  <a:lnTo>
                    <a:pt x="320" y="217"/>
                  </a:lnTo>
                  <a:lnTo>
                    <a:pt x="251" y="168"/>
                  </a:lnTo>
                  <a:lnTo>
                    <a:pt x="301" y="66"/>
                  </a:lnTo>
                  <a:lnTo>
                    <a:pt x="367" y="118"/>
                  </a:lnTo>
                  <a:lnTo>
                    <a:pt x="457" y="42"/>
                  </a:lnTo>
                  <a:lnTo>
                    <a:pt x="433" y="14"/>
                  </a:lnTo>
                  <a:lnTo>
                    <a:pt x="367" y="7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0" name="任意多边形: 形状 1579"/>
            <p:cNvSpPr/>
            <p:nvPr>
              <p:custDataLst>
                <p:tags r:id="rId172"/>
              </p:custDataLst>
            </p:nvPr>
          </p:nvSpPr>
          <p:spPr bwMode="auto">
            <a:xfrm flipH="1">
              <a:off x="3547567" y="2131567"/>
              <a:ext cx="47413" cy="79089"/>
            </a:xfrm>
            <a:custGeom>
              <a:avLst/>
              <a:gdLst>
                <a:gd name="T0" fmla="*/ 0 w 52"/>
                <a:gd name="T1" fmla="*/ 88 h 92"/>
                <a:gd name="T2" fmla="*/ 38 w 52"/>
                <a:gd name="T3" fmla="*/ 0 h 92"/>
                <a:gd name="T4" fmla="*/ 52 w 52"/>
                <a:gd name="T5" fmla="*/ 7 h 92"/>
                <a:gd name="T6" fmla="*/ 16 w 52"/>
                <a:gd name="T7" fmla="*/ 92 h 92"/>
                <a:gd name="T8" fmla="*/ 0 w 52"/>
                <a:gd name="T9" fmla="*/ 8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92">
                  <a:moveTo>
                    <a:pt x="0" y="88"/>
                  </a:moveTo>
                  <a:lnTo>
                    <a:pt x="38" y="0"/>
                  </a:lnTo>
                  <a:lnTo>
                    <a:pt x="52" y="7"/>
                  </a:lnTo>
                  <a:lnTo>
                    <a:pt x="16" y="92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1" name="任意多边形: 形状 1580"/>
            <p:cNvSpPr/>
            <p:nvPr>
              <p:custDataLst>
                <p:tags r:id="rId173"/>
              </p:custDataLst>
            </p:nvPr>
          </p:nvSpPr>
          <p:spPr bwMode="auto">
            <a:xfrm flipH="1">
              <a:off x="3429035" y="2178849"/>
              <a:ext cx="47413" cy="79089"/>
            </a:xfrm>
            <a:custGeom>
              <a:avLst/>
              <a:gdLst>
                <a:gd name="T0" fmla="*/ 24 w 52"/>
                <a:gd name="T1" fmla="*/ 75 h 92"/>
                <a:gd name="T2" fmla="*/ 52 w 52"/>
                <a:gd name="T3" fmla="*/ 7 h 92"/>
                <a:gd name="T4" fmla="*/ 38 w 52"/>
                <a:gd name="T5" fmla="*/ 0 h 92"/>
                <a:gd name="T6" fmla="*/ 5 w 52"/>
                <a:gd name="T7" fmla="*/ 78 h 92"/>
                <a:gd name="T8" fmla="*/ 0 w 52"/>
                <a:gd name="T9" fmla="*/ 87 h 92"/>
                <a:gd name="T10" fmla="*/ 17 w 52"/>
                <a:gd name="T11" fmla="*/ 92 h 92"/>
                <a:gd name="T12" fmla="*/ 24 w 52"/>
                <a:gd name="T13" fmla="*/ 7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92">
                  <a:moveTo>
                    <a:pt x="24" y="75"/>
                  </a:moveTo>
                  <a:lnTo>
                    <a:pt x="52" y="7"/>
                  </a:lnTo>
                  <a:lnTo>
                    <a:pt x="38" y="0"/>
                  </a:lnTo>
                  <a:lnTo>
                    <a:pt x="5" y="78"/>
                  </a:lnTo>
                  <a:lnTo>
                    <a:pt x="0" y="87"/>
                  </a:lnTo>
                  <a:lnTo>
                    <a:pt x="17" y="92"/>
                  </a:lnTo>
                  <a:lnTo>
                    <a:pt x="24" y="75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2" name="任意多边形: 形状 1581"/>
            <p:cNvSpPr/>
            <p:nvPr>
              <p:custDataLst>
                <p:tags r:id="rId174"/>
              </p:custDataLst>
            </p:nvPr>
          </p:nvSpPr>
          <p:spPr bwMode="auto">
            <a:xfrm flipH="1">
              <a:off x="3905896" y="3501863"/>
              <a:ext cx="211533" cy="317214"/>
            </a:xfrm>
            <a:custGeom>
              <a:avLst/>
              <a:gdLst>
                <a:gd name="T0" fmla="*/ 232 w 232"/>
                <a:gd name="T1" fmla="*/ 369 h 369"/>
                <a:gd name="T2" fmla="*/ 206 w 232"/>
                <a:gd name="T3" fmla="*/ 7 h 369"/>
                <a:gd name="T4" fmla="*/ 185 w 232"/>
                <a:gd name="T5" fmla="*/ 0 h 369"/>
                <a:gd name="T6" fmla="*/ 206 w 232"/>
                <a:gd name="T7" fmla="*/ 29 h 369"/>
                <a:gd name="T8" fmla="*/ 206 w 232"/>
                <a:gd name="T9" fmla="*/ 239 h 369"/>
                <a:gd name="T10" fmla="*/ 185 w 232"/>
                <a:gd name="T11" fmla="*/ 265 h 369"/>
                <a:gd name="T12" fmla="*/ 206 w 232"/>
                <a:gd name="T13" fmla="*/ 296 h 369"/>
                <a:gd name="T14" fmla="*/ 185 w 232"/>
                <a:gd name="T15" fmla="*/ 296 h 369"/>
                <a:gd name="T16" fmla="*/ 206 w 232"/>
                <a:gd name="T17" fmla="*/ 317 h 369"/>
                <a:gd name="T18" fmla="*/ 206 w 232"/>
                <a:gd name="T19" fmla="*/ 346 h 369"/>
                <a:gd name="T20" fmla="*/ 185 w 232"/>
                <a:gd name="T21" fmla="*/ 369 h 369"/>
                <a:gd name="T22" fmla="*/ 161 w 232"/>
                <a:gd name="T23" fmla="*/ 7 h 369"/>
                <a:gd name="T24" fmla="*/ 116 w 232"/>
                <a:gd name="T25" fmla="*/ 29 h 369"/>
                <a:gd name="T26" fmla="*/ 185 w 232"/>
                <a:gd name="T27" fmla="*/ 0 h 369"/>
                <a:gd name="T28" fmla="*/ 161 w 232"/>
                <a:gd name="T29" fmla="*/ 0 h 369"/>
                <a:gd name="T30" fmla="*/ 185 w 232"/>
                <a:gd name="T31" fmla="*/ 369 h 369"/>
                <a:gd name="T32" fmla="*/ 161 w 232"/>
                <a:gd name="T33" fmla="*/ 346 h 369"/>
                <a:gd name="T34" fmla="*/ 185 w 232"/>
                <a:gd name="T35" fmla="*/ 317 h 369"/>
                <a:gd name="T36" fmla="*/ 161 w 232"/>
                <a:gd name="T37" fmla="*/ 296 h 369"/>
                <a:gd name="T38" fmla="*/ 185 w 232"/>
                <a:gd name="T39" fmla="*/ 265 h 369"/>
                <a:gd name="T40" fmla="*/ 116 w 232"/>
                <a:gd name="T41" fmla="*/ 239 h 369"/>
                <a:gd name="T42" fmla="*/ 138 w 232"/>
                <a:gd name="T43" fmla="*/ 265 h 369"/>
                <a:gd name="T44" fmla="*/ 138 w 232"/>
                <a:gd name="T45" fmla="*/ 296 h 369"/>
                <a:gd name="T46" fmla="*/ 116 w 232"/>
                <a:gd name="T47" fmla="*/ 317 h 369"/>
                <a:gd name="T48" fmla="*/ 138 w 232"/>
                <a:gd name="T49" fmla="*/ 346 h 369"/>
                <a:gd name="T50" fmla="*/ 116 w 232"/>
                <a:gd name="T51" fmla="*/ 346 h 369"/>
                <a:gd name="T52" fmla="*/ 116 w 232"/>
                <a:gd name="T53" fmla="*/ 7 h 369"/>
                <a:gd name="T54" fmla="*/ 48 w 232"/>
                <a:gd name="T55" fmla="*/ 29 h 369"/>
                <a:gd name="T56" fmla="*/ 116 w 232"/>
                <a:gd name="T57" fmla="*/ 7 h 369"/>
                <a:gd name="T58" fmla="*/ 48 w 232"/>
                <a:gd name="T59" fmla="*/ 369 h 369"/>
                <a:gd name="T60" fmla="*/ 116 w 232"/>
                <a:gd name="T61" fmla="*/ 346 h 369"/>
                <a:gd name="T62" fmla="*/ 93 w 232"/>
                <a:gd name="T63" fmla="*/ 317 h 369"/>
                <a:gd name="T64" fmla="*/ 116 w 232"/>
                <a:gd name="T65" fmla="*/ 296 h 369"/>
                <a:gd name="T66" fmla="*/ 93 w 232"/>
                <a:gd name="T67" fmla="*/ 265 h 369"/>
                <a:gd name="T68" fmla="*/ 116 w 232"/>
                <a:gd name="T69" fmla="*/ 239 h 369"/>
                <a:gd name="T70" fmla="*/ 48 w 232"/>
                <a:gd name="T71" fmla="*/ 265 h 369"/>
                <a:gd name="T72" fmla="*/ 69 w 232"/>
                <a:gd name="T73" fmla="*/ 296 h 369"/>
                <a:gd name="T74" fmla="*/ 48 w 232"/>
                <a:gd name="T75" fmla="*/ 296 h 369"/>
                <a:gd name="T76" fmla="*/ 69 w 232"/>
                <a:gd name="T77" fmla="*/ 317 h 369"/>
                <a:gd name="T78" fmla="*/ 69 w 232"/>
                <a:gd name="T79" fmla="*/ 346 h 369"/>
                <a:gd name="T80" fmla="*/ 48 w 232"/>
                <a:gd name="T81" fmla="*/ 369 h 369"/>
                <a:gd name="T82" fmla="*/ 0 w 232"/>
                <a:gd name="T83" fmla="*/ 7 h 369"/>
                <a:gd name="T84" fmla="*/ 48 w 232"/>
                <a:gd name="T85" fmla="*/ 369 h 369"/>
                <a:gd name="T86" fmla="*/ 26 w 232"/>
                <a:gd name="T87" fmla="*/ 346 h 369"/>
                <a:gd name="T88" fmla="*/ 48 w 232"/>
                <a:gd name="T89" fmla="*/ 317 h 369"/>
                <a:gd name="T90" fmla="*/ 26 w 232"/>
                <a:gd name="T91" fmla="*/ 296 h 369"/>
                <a:gd name="T92" fmla="*/ 48 w 232"/>
                <a:gd name="T93" fmla="*/ 265 h 369"/>
                <a:gd name="T94" fmla="*/ 26 w 232"/>
                <a:gd name="T95" fmla="*/ 239 h 369"/>
                <a:gd name="T96" fmla="*/ 48 w 232"/>
                <a:gd name="T97" fmla="*/ 2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2" h="369">
                  <a:moveTo>
                    <a:pt x="185" y="369"/>
                  </a:moveTo>
                  <a:lnTo>
                    <a:pt x="232" y="369"/>
                  </a:lnTo>
                  <a:lnTo>
                    <a:pt x="232" y="7"/>
                  </a:lnTo>
                  <a:lnTo>
                    <a:pt x="206" y="7"/>
                  </a:lnTo>
                  <a:lnTo>
                    <a:pt x="206" y="0"/>
                  </a:lnTo>
                  <a:lnTo>
                    <a:pt x="185" y="0"/>
                  </a:lnTo>
                  <a:lnTo>
                    <a:pt x="185" y="29"/>
                  </a:lnTo>
                  <a:lnTo>
                    <a:pt x="206" y="29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185" y="239"/>
                  </a:lnTo>
                  <a:lnTo>
                    <a:pt x="185" y="265"/>
                  </a:lnTo>
                  <a:lnTo>
                    <a:pt x="206" y="265"/>
                  </a:lnTo>
                  <a:lnTo>
                    <a:pt x="206" y="296"/>
                  </a:lnTo>
                  <a:lnTo>
                    <a:pt x="206" y="296"/>
                  </a:lnTo>
                  <a:lnTo>
                    <a:pt x="185" y="296"/>
                  </a:lnTo>
                  <a:lnTo>
                    <a:pt x="185" y="317"/>
                  </a:lnTo>
                  <a:lnTo>
                    <a:pt x="206" y="317"/>
                  </a:lnTo>
                  <a:lnTo>
                    <a:pt x="206" y="346"/>
                  </a:lnTo>
                  <a:lnTo>
                    <a:pt x="206" y="346"/>
                  </a:lnTo>
                  <a:lnTo>
                    <a:pt x="185" y="346"/>
                  </a:lnTo>
                  <a:lnTo>
                    <a:pt x="185" y="369"/>
                  </a:lnTo>
                  <a:close/>
                  <a:moveTo>
                    <a:pt x="161" y="0"/>
                  </a:moveTo>
                  <a:lnTo>
                    <a:pt x="161" y="7"/>
                  </a:lnTo>
                  <a:lnTo>
                    <a:pt x="116" y="7"/>
                  </a:lnTo>
                  <a:lnTo>
                    <a:pt x="116" y="29"/>
                  </a:lnTo>
                  <a:lnTo>
                    <a:pt x="185" y="29"/>
                  </a:lnTo>
                  <a:lnTo>
                    <a:pt x="185" y="0"/>
                  </a:lnTo>
                  <a:lnTo>
                    <a:pt x="161" y="0"/>
                  </a:lnTo>
                  <a:lnTo>
                    <a:pt x="161" y="0"/>
                  </a:lnTo>
                  <a:close/>
                  <a:moveTo>
                    <a:pt x="116" y="369"/>
                  </a:moveTo>
                  <a:lnTo>
                    <a:pt x="185" y="369"/>
                  </a:lnTo>
                  <a:lnTo>
                    <a:pt x="185" y="346"/>
                  </a:lnTo>
                  <a:lnTo>
                    <a:pt x="161" y="346"/>
                  </a:lnTo>
                  <a:lnTo>
                    <a:pt x="161" y="317"/>
                  </a:lnTo>
                  <a:lnTo>
                    <a:pt x="185" y="317"/>
                  </a:lnTo>
                  <a:lnTo>
                    <a:pt x="185" y="296"/>
                  </a:lnTo>
                  <a:lnTo>
                    <a:pt x="161" y="296"/>
                  </a:lnTo>
                  <a:lnTo>
                    <a:pt x="161" y="265"/>
                  </a:lnTo>
                  <a:lnTo>
                    <a:pt x="185" y="265"/>
                  </a:lnTo>
                  <a:lnTo>
                    <a:pt x="185" y="239"/>
                  </a:lnTo>
                  <a:lnTo>
                    <a:pt x="116" y="239"/>
                  </a:lnTo>
                  <a:lnTo>
                    <a:pt x="116" y="265"/>
                  </a:lnTo>
                  <a:lnTo>
                    <a:pt x="138" y="265"/>
                  </a:lnTo>
                  <a:lnTo>
                    <a:pt x="138" y="296"/>
                  </a:lnTo>
                  <a:lnTo>
                    <a:pt x="138" y="296"/>
                  </a:lnTo>
                  <a:lnTo>
                    <a:pt x="116" y="296"/>
                  </a:lnTo>
                  <a:lnTo>
                    <a:pt x="116" y="317"/>
                  </a:lnTo>
                  <a:lnTo>
                    <a:pt x="138" y="317"/>
                  </a:lnTo>
                  <a:lnTo>
                    <a:pt x="138" y="346"/>
                  </a:lnTo>
                  <a:lnTo>
                    <a:pt x="138" y="346"/>
                  </a:lnTo>
                  <a:lnTo>
                    <a:pt x="116" y="346"/>
                  </a:lnTo>
                  <a:lnTo>
                    <a:pt x="116" y="369"/>
                  </a:lnTo>
                  <a:close/>
                  <a:moveTo>
                    <a:pt x="116" y="7"/>
                  </a:moveTo>
                  <a:lnTo>
                    <a:pt x="48" y="7"/>
                  </a:lnTo>
                  <a:lnTo>
                    <a:pt x="48" y="29"/>
                  </a:lnTo>
                  <a:lnTo>
                    <a:pt x="116" y="29"/>
                  </a:lnTo>
                  <a:lnTo>
                    <a:pt x="116" y="7"/>
                  </a:lnTo>
                  <a:lnTo>
                    <a:pt x="116" y="7"/>
                  </a:lnTo>
                  <a:close/>
                  <a:moveTo>
                    <a:pt x="48" y="369"/>
                  </a:moveTo>
                  <a:lnTo>
                    <a:pt x="116" y="369"/>
                  </a:lnTo>
                  <a:lnTo>
                    <a:pt x="116" y="346"/>
                  </a:lnTo>
                  <a:lnTo>
                    <a:pt x="93" y="346"/>
                  </a:lnTo>
                  <a:lnTo>
                    <a:pt x="93" y="317"/>
                  </a:lnTo>
                  <a:lnTo>
                    <a:pt x="116" y="317"/>
                  </a:lnTo>
                  <a:lnTo>
                    <a:pt x="116" y="296"/>
                  </a:lnTo>
                  <a:lnTo>
                    <a:pt x="93" y="296"/>
                  </a:lnTo>
                  <a:lnTo>
                    <a:pt x="93" y="265"/>
                  </a:lnTo>
                  <a:lnTo>
                    <a:pt x="116" y="265"/>
                  </a:lnTo>
                  <a:lnTo>
                    <a:pt x="116" y="239"/>
                  </a:lnTo>
                  <a:lnTo>
                    <a:pt x="48" y="239"/>
                  </a:lnTo>
                  <a:lnTo>
                    <a:pt x="48" y="265"/>
                  </a:lnTo>
                  <a:lnTo>
                    <a:pt x="69" y="265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48" y="296"/>
                  </a:lnTo>
                  <a:lnTo>
                    <a:pt x="48" y="317"/>
                  </a:lnTo>
                  <a:lnTo>
                    <a:pt x="69" y="317"/>
                  </a:lnTo>
                  <a:lnTo>
                    <a:pt x="69" y="346"/>
                  </a:lnTo>
                  <a:lnTo>
                    <a:pt x="69" y="346"/>
                  </a:lnTo>
                  <a:lnTo>
                    <a:pt x="48" y="346"/>
                  </a:lnTo>
                  <a:lnTo>
                    <a:pt x="48" y="369"/>
                  </a:lnTo>
                  <a:close/>
                  <a:moveTo>
                    <a:pt x="48" y="7"/>
                  </a:moveTo>
                  <a:lnTo>
                    <a:pt x="0" y="7"/>
                  </a:lnTo>
                  <a:lnTo>
                    <a:pt x="0" y="369"/>
                  </a:lnTo>
                  <a:lnTo>
                    <a:pt x="48" y="369"/>
                  </a:lnTo>
                  <a:lnTo>
                    <a:pt x="48" y="346"/>
                  </a:lnTo>
                  <a:lnTo>
                    <a:pt x="26" y="346"/>
                  </a:lnTo>
                  <a:lnTo>
                    <a:pt x="26" y="317"/>
                  </a:lnTo>
                  <a:lnTo>
                    <a:pt x="48" y="317"/>
                  </a:lnTo>
                  <a:lnTo>
                    <a:pt x="48" y="296"/>
                  </a:lnTo>
                  <a:lnTo>
                    <a:pt x="26" y="296"/>
                  </a:lnTo>
                  <a:lnTo>
                    <a:pt x="26" y="265"/>
                  </a:lnTo>
                  <a:lnTo>
                    <a:pt x="48" y="265"/>
                  </a:lnTo>
                  <a:lnTo>
                    <a:pt x="48" y="239"/>
                  </a:lnTo>
                  <a:lnTo>
                    <a:pt x="26" y="239"/>
                  </a:lnTo>
                  <a:lnTo>
                    <a:pt x="26" y="29"/>
                  </a:lnTo>
                  <a:lnTo>
                    <a:pt x="48" y="29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3" name="任意多边形: 形状 1582"/>
            <p:cNvSpPr/>
            <p:nvPr>
              <p:custDataLst>
                <p:tags r:id="rId175"/>
              </p:custDataLst>
            </p:nvPr>
          </p:nvSpPr>
          <p:spPr bwMode="auto">
            <a:xfrm flipH="1">
              <a:off x="2272900" y="1160153"/>
              <a:ext cx="145885" cy="61036"/>
            </a:xfrm>
            <a:custGeom>
              <a:avLst/>
              <a:gdLst>
                <a:gd name="T0" fmla="*/ 0 w 160"/>
                <a:gd name="T1" fmla="*/ 40 h 71"/>
                <a:gd name="T2" fmla="*/ 61 w 160"/>
                <a:gd name="T3" fmla="*/ 71 h 71"/>
                <a:gd name="T4" fmla="*/ 160 w 160"/>
                <a:gd name="T5" fmla="*/ 71 h 71"/>
                <a:gd name="T6" fmla="*/ 18 w 160"/>
                <a:gd name="T7" fmla="*/ 0 h 71"/>
                <a:gd name="T8" fmla="*/ 0 w 160"/>
                <a:gd name="T9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71">
                  <a:moveTo>
                    <a:pt x="0" y="40"/>
                  </a:moveTo>
                  <a:lnTo>
                    <a:pt x="61" y="71"/>
                  </a:lnTo>
                  <a:lnTo>
                    <a:pt x="160" y="71"/>
                  </a:lnTo>
                  <a:lnTo>
                    <a:pt x="18" y="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4" name="任意多边形: 形状 1583"/>
            <p:cNvSpPr/>
            <p:nvPr>
              <p:custDataLst>
                <p:tags r:id="rId176"/>
              </p:custDataLst>
            </p:nvPr>
          </p:nvSpPr>
          <p:spPr bwMode="auto">
            <a:xfrm flipH="1">
              <a:off x="2065014" y="1230646"/>
              <a:ext cx="353770" cy="166774"/>
            </a:xfrm>
            <a:custGeom>
              <a:avLst/>
              <a:gdLst>
                <a:gd name="T0" fmla="*/ 156 w 388"/>
                <a:gd name="T1" fmla="*/ 194 h 194"/>
                <a:gd name="T2" fmla="*/ 312 w 388"/>
                <a:gd name="T3" fmla="*/ 194 h 194"/>
                <a:gd name="T4" fmla="*/ 312 w 388"/>
                <a:gd name="T5" fmla="*/ 156 h 194"/>
                <a:gd name="T6" fmla="*/ 388 w 388"/>
                <a:gd name="T7" fmla="*/ 156 h 194"/>
                <a:gd name="T8" fmla="*/ 388 w 388"/>
                <a:gd name="T9" fmla="*/ 38 h 194"/>
                <a:gd name="T10" fmla="*/ 312 w 388"/>
                <a:gd name="T11" fmla="*/ 38 h 194"/>
                <a:gd name="T12" fmla="*/ 312 w 388"/>
                <a:gd name="T13" fmla="*/ 0 h 194"/>
                <a:gd name="T14" fmla="*/ 182 w 388"/>
                <a:gd name="T15" fmla="*/ 0 h 194"/>
                <a:gd name="T16" fmla="*/ 156 w 388"/>
                <a:gd name="T17" fmla="*/ 0 h 194"/>
                <a:gd name="T18" fmla="*/ 156 w 388"/>
                <a:gd name="T19" fmla="*/ 76 h 194"/>
                <a:gd name="T20" fmla="*/ 234 w 388"/>
                <a:gd name="T21" fmla="*/ 76 h 194"/>
                <a:gd name="T22" fmla="*/ 234 w 388"/>
                <a:gd name="T23" fmla="*/ 119 h 194"/>
                <a:gd name="T24" fmla="*/ 156 w 388"/>
                <a:gd name="T25" fmla="*/ 119 h 194"/>
                <a:gd name="T26" fmla="*/ 156 w 388"/>
                <a:gd name="T27" fmla="*/ 194 h 194"/>
                <a:gd name="T28" fmla="*/ 0 w 388"/>
                <a:gd name="T29" fmla="*/ 194 h 194"/>
                <a:gd name="T30" fmla="*/ 156 w 388"/>
                <a:gd name="T31" fmla="*/ 194 h 194"/>
                <a:gd name="T32" fmla="*/ 156 w 388"/>
                <a:gd name="T33" fmla="*/ 119 h 194"/>
                <a:gd name="T34" fmla="*/ 78 w 388"/>
                <a:gd name="T35" fmla="*/ 119 h 194"/>
                <a:gd name="T36" fmla="*/ 78 w 388"/>
                <a:gd name="T37" fmla="*/ 76 h 194"/>
                <a:gd name="T38" fmla="*/ 78 w 388"/>
                <a:gd name="T39" fmla="*/ 76 h 194"/>
                <a:gd name="T40" fmla="*/ 156 w 388"/>
                <a:gd name="T41" fmla="*/ 76 h 194"/>
                <a:gd name="T42" fmla="*/ 156 w 388"/>
                <a:gd name="T43" fmla="*/ 0 h 194"/>
                <a:gd name="T44" fmla="*/ 82 w 388"/>
                <a:gd name="T45" fmla="*/ 0 h 194"/>
                <a:gd name="T46" fmla="*/ 0 w 388"/>
                <a:gd name="T47" fmla="*/ 0 h 194"/>
                <a:gd name="T48" fmla="*/ 0 w 388"/>
                <a:gd name="T4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8" h="194">
                  <a:moveTo>
                    <a:pt x="156" y="194"/>
                  </a:moveTo>
                  <a:lnTo>
                    <a:pt x="312" y="194"/>
                  </a:lnTo>
                  <a:lnTo>
                    <a:pt x="312" y="156"/>
                  </a:lnTo>
                  <a:lnTo>
                    <a:pt x="388" y="156"/>
                  </a:lnTo>
                  <a:lnTo>
                    <a:pt x="388" y="38"/>
                  </a:lnTo>
                  <a:lnTo>
                    <a:pt x="312" y="38"/>
                  </a:lnTo>
                  <a:lnTo>
                    <a:pt x="312" y="0"/>
                  </a:lnTo>
                  <a:lnTo>
                    <a:pt x="182" y="0"/>
                  </a:lnTo>
                  <a:lnTo>
                    <a:pt x="156" y="0"/>
                  </a:lnTo>
                  <a:lnTo>
                    <a:pt x="156" y="76"/>
                  </a:lnTo>
                  <a:lnTo>
                    <a:pt x="234" y="76"/>
                  </a:lnTo>
                  <a:lnTo>
                    <a:pt x="234" y="119"/>
                  </a:lnTo>
                  <a:lnTo>
                    <a:pt x="156" y="119"/>
                  </a:lnTo>
                  <a:lnTo>
                    <a:pt x="156" y="194"/>
                  </a:lnTo>
                  <a:close/>
                  <a:moveTo>
                    <a:pt x="0" y="194"/>
                  </a:moveTo>
                  <a:lnTo>
                    <a:pt x="156" y="194"/>
                  </a:lnTo>
                  <a:lnTo>
                    <a:pt x="156" y="119"/>
                  </a:lnTo>
                  <a:lnTo>
                    <a:pt x="78" y="119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156" y="76"/>
                  </a:lnTo>
                  <a:lnTo>
                    <a:pt x="156" y="0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5" name="任意多边形: 形状 1584"/>
            <p:cNvSpPr/>
            <p:nvPr>
              <p:custDataLst>
                <p:tags r:id="rId177"/>
              </p:custDataLst>
            </p:nvPr>
          </p:nvSpPr>
          <p:spPr bwMode="auto">
            <a:xfrm flipH="1">
              <a:off x="3508360" y="5897732"/>
              <a:ext cx="255298" cy="189124"/>
            </a:xfrm>
            <a:custGeom>
              <a:avLst/>
              <a:gdLst>
                <a:gd name="T0" fmla="*/ 93 w 118"/>
                <a:gd name="T1" fmla="*/ 93 h 93"/>
                <a:gd name="T2" fmla="*/ 93 w 118"/>
                <a:gd name="T3" fmla="*/ 61 h 93"/>
                <a:gd name="T4" fmla="*/ 109 w 118"/>
                <a:gd name="T5" fmla="*/ 47 h 93"/>
                <a:gd name="T6" fmla="*/ 118 w 118"/>
                <a:gd name="T7" fmla="*/ 47 h 93"/>
                <a:gd name="T8" fmla="*/ 118 w 118"/>
                <a:gd name="T9" fmla="*/ 12 h 93"/>
                <a:gd name="T10" fmla="*/ 105 w 118"/>
                <a:gd name="T11" fmla="*/ 0 h 93"/>
                <a:gd name="T12" fmla="*/ 76 w 118"/>
                <a:gd name="T13" fmla="*/ 0 h 93"/>
                <a:gd name="T14" fmla="*/ 76 w 118"/>
                <a:gd name="T15" fmla="*/ 15 h 93"/>
                <a:gd name="T16" fmla="*/ 87 w 118"/>
                <a:gd name="T17" fmla="*/ 25 h 93"/>
                <a:gd name="T18" fmla="*/ 76 w 118"/>
                <a:gd name="T19" fmla="*/ 36 h 93"/>
                <a:gd name="T20" fmla="*/ 76 w 118"/>
                <a:gd name="T21" fmla="*/ 43 h 93"/>
                <a:gd name="T22" fmla="*/ 87 w 118"/>
                <a:gd name="T23" fmla="*/ 53 h 93"/>
                <a:gd name="T24" fmla="*/ 76 w 118"/>
                <a:gd name="T25" fmla="*/ 64 h 93"/>
                <a:gd name="T26" fmla="*/ 76 w 118"/>
                <a:gd name="T27" fmla="*/ 93 h 93"/>
                <a:gd name="T28" fmla="*/ 93 w 118"/>
                <a:gd name="T29" fmla="*/ 93 h 93"/>
                <a:gd name="T30" fmla="*/ 76 w 118"/>
                <a:gd name="T31" fmla="*/ 0 h 93"/>
                <a:gd name="T32" fmla="*/ 42 w 118"/>
                <a:gd name="T33" fmla="*/ 0 h 93"/>
                <a:gd name="T34" fmla="*/ 42 w 118"/>
                <a:gd name="T35" fmla="*/ 15 h 93"/>
                <a:gd name="T36" fmla="*/ 42 w 118"/>
                <a:gd name="T37" fmla="*/ 15 h 93"/>
                <a:gd name="T38" fmla="*/ 53 w 118"/>
                <a:gd name="T39" fmla="*/ 25 h 93"/>
                <a:gd name="T40" fmla="*/ 42 w 118"/>
                <a:gd name="T41" fmla="*/ 36 h 93"/>
                <a:gd name="T42" fmla="*/ 42 w 118"/>
                <a:gd name="T43" fmla="*/ 43 h 93"/>
                <a:gd name="T44" fmla="*/ 42 w 118"/>
                <a:gd name="T45" fmla="*/ 43 h 93"/>
                <a:gd name="T46" fmla="*/ 53 w 118"/>
                <a:gd name="T47" fmla="*/ 53 h 93"/>
                <a:gd name="T48" fmla="*/ 42 w 118"/>
                <a:gd name="T49" fmla="*/ 64 h 93"/>
                <a:gd name="T50" fmla="*/ 42 w 118"/>
                <a:gd name="T51" fmla="*/ 93 h 93"/>
                <a:gd name="T52" fmla="*/ 76 w 118"/>
                <a:gd name="T53" fmla="*/ 93 h 93"/>
                <a:gd name="T54" fmla="*/ 76 w 118"/>
                <a:gd name="T55" fmla="*/ 64 h 93"/>
                <a:gd name="T56" fmla="*/ 76 w 118"/>
                <a:gd name="T57" fmla="*/ 64 h 93"/>
                <a:gd name="T58" fmla="*/ 65 w 118"/>
                <a:gd name="T59" fmla="*/ 53 h 93"/>
                <a:gd name="T60" fmla="*/ 76 w 118"/>
                <a:gd name="T61" fmla="*/ 43 h 93"/>
                <a:gd name="T62" fmla="*/ 76 w 118"/>
                <a:gd name="T63" fmla="*/ 43 h 93"/>
                <a:gd name="T64" fmla="*/ 76 w 118"/>
                <a:gd name="T65" fmla="*/ 43 h 93"/>
                <a:gd name="T66" fmla="*/ 76 w 118"/>
                <a:gd name="T67" fmla="*/ 36 h 93"/>
                <a:gd name="T68" fmla="*/ 76 w 118"/>
                <a:gd name="T69" fmla="*/ 36 h 93"/>
                <a:gd name="T70" fmla="*/ 65 w 118"/>
                <a:gd name="T71" fmla="*/ 25 h 93"/>
                <a:gd name="T72" fmla="*/ 76 w 118"/>
                <a:gd name="T73" fmla="*/ 15 h 93"/>
                <a:gd name="T74" fmla="*/ 76 w 118"/>
                <a:gd name="T75" fmla="*/ 15 h 93"/>
                <a:gd name="T76" fmla="*/ 76 w 118"/>
                <a:gd name="T77" fmla="*/ 15 h 93"/>
                <a:gd name="T78" fmla="*/ 76 w 118"/>
                <a:gd name="T79" fmla="*/ 0 h 93"/>
                <a:gd name="T80" fmla="*/ 42 w 118"/>
                <a:gd name="T81" fmla="*/ 0 h 93"/>
                <a:gd name="T82" fmla="*/ 13 w 118"/>
                <a:gd name="T83" fmla="*/ 0 h 93"/>
                <a:gd name="T84" fmla="*/ 0 w 118"/>
                <a:gd name="T85" fmla="*/ 12 h 93"/>
                <a:gd name="T86" fmla="*/ 0 w 118"/>
                <a:gd name="T87" fmla="*/ 47 h 93"/>
                <a:gd name="T88" fmla="*/ 10 w 118"/>
                <a:gd name="T89" fmla="*/ 47 h 93"/>
                <a:gd name="T90" fmla="*/ 25 w 118"/>
                <a:gd name="T91" fmla="*/ 61 h 93"/>
                <a:gd name="T92" fmla="*/ 25 w 118"/>
                <a:gd name="T93" fmla="*/ 93 h 93"/>
                <a:gd name="T94" fmla="*/ 42 w 118"/>
                <a:gd name="T95" fmla="*/ 93 h 93"/>
                <a:gd name="T96" fmla="*/ 42 w 118"/>
                <a:gd name="T97" fmla="*/ 64 h 93"/>
                <a:gd name="T98" fmla="*/ 32 w 118"/>
                <a:gd name="T99" fmla="*/ 53 h 93"/>
                <a:gd name="T100" fmla="*/ 42 w 118"/>
                <a:gd name="T101" fmla="*/ 43 h 93"/>
                <a:gd name="T102" fmla="*/ 42 w 118"/>
                <a:gd name="T103" fmla="*/ 36 h 93"/>
                <a:gd name="T104" fmla="*/ 32 w 118"/>
                <a:gd name="T105" fmla="*/ 25 h 93"/>
                <a:gd name="T106" fmla="*/ 42 w 118"/>
                <a:gd name="T107" fmla="*/ 15 h 93"/>
                <a:gd name="T108" fmla="*/ 42 w 118"/>
                <a:gd name="T109" fmla="*/ 0 h 93"/>
                <a:gd name="T110" fmla="*/ 42 w 118"/>
                <a:gd name="T111" fmla="*/ 15 h 93"/>
                <a:gd name="T112" fmla="*/ 42 w 118"/>
                <a:gd name="T113" fmla="*/ 15 h 93"/>
                <a:gd name="T114" fmla="*/ 42 w 118"/>
                <a:gd name="T115" fmla="*/ 43 h 93"/>
                <a:gd name="T116" fmla="*/ 42 w 118"/>
                <a:gd name="T117" fmla="*/ 4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8" h="93">
                  <a:moveTo>
                    <a:pt x="93" y="93"/>
                  </a:moveTo>
                  <a:cubicBezTo>
                    <a:pt x="93" y="61"/>
                    <a:pt x="93" y="61"/>
                    <a:pt x="93" y="61"/>
                  </a:cubicBezTo>
                  <a:cubicBezTo>
                    <a:pt x="93" y="52"/>
                    <a:pt x="99" y="47"/>
                    <a:pt x="109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5"/>
                    <a:pt x="112" y="0"/>
                    <a:pt x="10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82" y="15"/>
                    <a:pt x="87" y="19"/>
                    <a:pt x="87" y="25"/>
                  </a:cubicBezTo>
                  <a:cubicBezTo>
                    <a:pt x="87" y="31"/>
                    <a:pt x="82" y="36"/>
                    <a:pt x="76" y="36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82" y="43"/>
                    <a:pt x="87" y="47"/>
                    <a:pt x="87" y="53"/>
                  </a:cubicBezTo>
                  <a:cubicBezTo>
                    <a:pt x="87" y="59"/>
                    <a:pt x="82" y="64"/>
                    <a:pt x="76" y="64"/>
                  </a:cubicBezTo>
                  <a:cubicBezTo>
                    <a:pt x="76" y="93"/>
                    <a:pt x="76" y="93"/>
                    <a:pt x="76" y="93"/>
                  </a:cubicBezTo>
                  <a:lnTo>
                    <a:pt x="93" y="93"/>
                  </a:lnTo>
                  <a:close/>
                  <a:moveTo>
                    <a:pt x="76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8" y="15"/>
                    <a:pt x="53" y="19"/>
                    <a:pt x="53" y="25"/>
                  </a:cubicBezTo>
                  <a:cubicBezTo>
                    <a:pt x="53" y="31"/>
                    <a:pt x="48" y="36"/>
                    <a:pt x="42" y="36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8" y="43"/>
                    <a:pt x="53" y="47"/>
                    <a:pt x="53" y="53"/>
                  </a:cubicBezTo>
                  <a:cubicBezTo>
                    <a:pt x="53" y="59"/>
                    <a:pt x="48" y="64"/>
                    <a:pt x="42" y="64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0" y="64"/>
                    <a:pt x="65" y="59"/>
                    <a:pt x="65" y="53"/>
                  </a:cubicBezTo>
                  <a:cubicBezTo>
                    <a:pt x="65" y="47"/>
                    <a:pt x="70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0" y="36"/>
                    <a:pt x="65" y="31"/>
                    <a:pt x="65" y="25"/>
                  </a:cubicBezTo>
                  <a:cubicBezTo>
                    <a:pt x="65" y="19"/>
                    <a:pt x="70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lnTo>
                    <a:pt x="76" y="0"/>
                  </a:lnTo>
                  <a:close/>
                  <a:moveTo>
                    <a:pt x="42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20" y="47"/>
                    <a:pt x="25" y="52"/>
                    <a:pt x="25" y="61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36" y="64"/>
                    <a:pt x="32" y="59"/>
                    <a:pt x="32" y="53"/>
                  </a:cubicBezTo>
                  <a:cubicBezTo>
                    <a:pt x="32" y="47"/>
                    <a:pt x="36" y="43"/>
                    <a:pt x="42" y="43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6" y="36"/>
                    <a:pt x="32" y="31"/>
                    <a:pt x="32" y="25"/>
                  </a:cubicBezTo>
                  <a:cubicBezTo>
                    <a:pt x="32" y="19"/>
                    <a:pt x="36" y="15"/>
                    <a:pt x="42" y="15"/>
                  </a:cubicBezTo>
                  <a:cubicBezTo>
                    <a:pt x="42" y="0"/>
                    <a:pt x="42" y="0"/>
                    <a:pt x="42" y="0"/>
                  </a:cubicBezTo>
                  <a:close/>
                  <a:moveTo>
                    <a:pt x="42" y="15"/>
                  </a:moveTo>
                  <a:cubicBezTo>
                    <a:pt x="42" y="15"/>
                    <a:pt x="42" y="15"/>
                    <a:pt x="42" y="15"/>
                  </a:cubicBezTo>
                  <a:close/>
                  <a:moveTo>
                    <a:pt x="42" y="43"/>
                  </a:moveTo>
                  <a:cubicBezTo>
                    <a:pt x="42" y="43"/>
                    <a:pt x="42" y="43"/>
                    <a:pt x="42" y="43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6" name="任意多边形: 形状 1585"/>
            <p:cNvSpPr/>
            <p:nvPr>
              <p:custDataLst>
                <p:tags r:id="rId178"/>
              </p:custDataLst>
            </p:nvPr>
          </p:nvSpPr>
          <p:spPr bwMode="auto">
            <a:xfrm flipH="1">
              <a:off x="3463683" y="6000891"/>
              <a:ext cx="344652" cy="172792"/>
            </a:xfrm>
            <a:custGeom>
              <a:avLst/>
              <a:gdLst>
                <a:gd name="T0" fmla="*/ 150 w 160"/>
                <a:gd name="T1" fmla="*/ 0 h 85"/>
                <a:gd name="T2" fmla="*/ 139 w 160"/>
                <a:gd name="T3" fmla="*/ 0 h 85"/>
                <a:gd name="T4" fmla="*/ 130 w 160"/>
                <a:gd name="T5" fmla="*/ 0 h 85"/>
                <a:gd name="T6" fmla="*/ 119 w 160"/>
                <a:gd name="T7" fmla="*/ 10 h 85"/>
                <a:gd name="T8" fmla="*/ 119 w 160"/>
                <a:gd name="T9" fmla="*/ 47 h 85"/>
                <a:gd name="T10" fmla="*/ 42 w 160"/>
                <a:gd name="T11" fmla="*/ 47 h 85"/>
                <a:gd name="T12" fmla="*/ 42 w 160"/>
                <a:gd name="T13" fmla="*/ 10 h 85"/>
                <a:gd name="T14" fmla="*/ 31 w 160"/>
                <a:gd name="T15" fmla="*/ 0 h 85"/>
                <a:gd name="T16" fmla="*/ 21 w 160"/>
                <a:gd name="T17" fmla="*/ 0 h 85"/>
                <a:gd name="T18" fmla="*/ 11 w 160"/>
                <a:gd name="T19" fmla="*/ 0 h 85"/>
                <a:gd name="T20" fmla="*/ 0 w 160"/>
                <a:gd name="T21" fmla="*/ 10 h 85"/>
                <a:gd name="T22" fmla="*/ 0 w 160"/>
                <a:gd name="T23" fmla="*/ 63 h 85"/>
                <a:gd name="T24" fmla="*/ 15 w 160"/>
                <a:gd name="T25" fmla="*/ 79 h 85"/>
                <a:gd name="T26" fmla="*/ 16 w 160"/>
                <a:gd name="T27" fmla="*/ 80 h 85"/>
                <a:gd name="T28" fmla="*/ 17 w 160"/>
                <a:gd name="T29" fmla="*/ 83 h 85"/>
                <a:gd name="T30" fmla="*/ 22 w 160"/>
                <a:gd name="T31" fmla="*/ 85 h 85"/>
                <a:gd name="T32" fmla="*/ 25 w 160"/>
                <a:gd name="T33" fmla="*/ 85 h 85"/>
                <a:gd name="T34" fmla="*/ 30 w 160"/>
                <a:gd name="T35" fmla="*/ 83 h 85"/>
                <a:gd name="T36" fmla="*/ 31 w 160"/>
                <a:gd name="T37" fmla="*/ 80 h 85"/>
                <a:gd name="T38" fmla="*/ 31 w 160"/>
                <a:gd name="T39" fmla="*/ 79 h 85"/>
                <a:gd name="T40" fmla="*/ 129 w 160"/>
                <a:gd name="T41" fmla="*/ 79 h 85"/>
                <a:gd name="T42" fmla="*/ 129 w 160"/>
                <a:gd name="T43" fmla="*/ 80 h 85"/>
                <a:gd name="T44" fmla="*/ 130 w 160"/>
                <a:gd name="T45" fmla="*/ 83 h 85"/>
                <a:gd name="T46" fmla="*/ 135 w 160"/>
                <a:gd name="T47" fmla="*/ 85 h 85"/>
                <a:gd name="T48" fmla="*/ 138 w 160"/>
                <a:gd name="T49" fmla="*/ 85 h 85"/>
                <a:gd name="T50" fmla="*/ 143 w 160"/>
                <a:gd name="T51" fmla="*/ 83 h 85"/>
                <a:gd name="T52" fmla="*/ 144 w 160"/>
                <a:gd name="T53" fmla="*/ 80 h 85"/>
                <a:gd name="T54" fmla="*/ 145 w 160"/>
                <a:gd name="T55" fmla="*/ 79 h 85"/>
                <a:gd name="T56" fmla="*/ 150 w 160"/>
                <a:gd name="T57" fmla="*/ 79 h 85"/>
                <a:gd name="T58" fmla="*/ 160 w 160"/>
                <a:gd name="T59" fmla="*/ 63 h 85"/>
                <a:gd name="T60" fmla="*/ 160 w 160"/>
                <a:gd name="T61" fmla="*/ 10 h 85"/>
                <a:gd name="T62" fmla="*/ 150 w 160"/>
                <a:gd name="T6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85">
                  <a:moveTo>
                    <a:pt x="150" y="0"/>
                  </a:moveTo>
                  <a:cubicBezTo>
                    <a:pt x="139" y="0"/>
                    <a:pt x="139" y="0"/>
                    <a:pt x="139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2" y="0"/>
                    <a:pt x="119" y="3"/>
                    <a:pt x="119" y="10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3"/>
                    <a:pt x="38" y="0"/>
                    <a:pt x="3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0"/>
                    <a:pt x="0" y="3"/>
                    <a:pt x="0" y="1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70"/>
                    <a:pt x="8" y="79"/>
                    <a:pt x="15" y="79"/>
                  </a:cubicBezTo>
                  <a:cubicBezTo>
                    <a:pt x="15" y="79"/>
                    <a:pt x="16" y="80"/>
                    <a:pt x="16" y="80"/>
                  </a:cubicBezTo>
                  <a:cubicBezTo>
                    <a:pt x="16" y="81"/>
                    <a:pt x="16" y="82"/>
                    <a:pt x="17" y="83"/>
                  </a:cubicBezTo>
                  <a:cubicBezTo>
                    <a:pt x="18" y="84"/>
                    <a:pt x="20" y="85"/>
                    <a:pt x="22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7" y="85"/>
                    <a:pt x="29" y="84"/>
                    <a:pt x="30" y="83"/>
                  </a:cubicBezTo>
                  <a:cubicBezTo>
                    <a:pt x="31" y="82"/>
                    <a:pt x="31" y="81"/>
                    <a:pt x="31" y="80"/>
                  </a:cubicBezTo>
                  <a:cubicBezTo>
                    <a:pt x="31" y="80"/>
                    <a:pt x="31" y="79"/>
                    <a:pt x="31" y="79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9" y="79"/>
                    <a:pt x="129" y="80"/>
                    <a:pt x="129" y="80"/>
                  </a:cubicBezTo>
                  <a:cubicBezTo>
                    <a:pt x="129" y="81"/>
                    <a:pt x="130" y="82"/>
                    <a:pt x="130" y="83"/>
                  </a:cubicBezTo>
                  <a:cubicBezTo>
                    <a:pt x="131" y="84"/>
                    <a:pt x="133" y="85"/>
                    <a:pt x="135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40" y="85"/>
                    <a:pt x="142" y="84"/>
                    <a:pt x="143" y="83"/>
                  </a:cubicBezTo>
                  <a:cubicBezTo>
                    <a:pt x="144" y="82"/>
                    <a:pt x="144" y="81"/>
                    <a:pt x="144" y="80"/>
                  </a:cubicBezTo>
                  <a:cubicBezTo>
                    <a:pt x="145" y="80"/>
                    <a:pt x="145" y="79"/>
                    <a:pt x="145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57" y="79"/>
                    <a:pt x="160" y="70"/>
                    <a:pt x="160" y="63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3"/>
                    <a:pt x="157" y="0"/>
                    <a:pt x="150" y="0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7" name="椭圆 1586"/>
            <p:cNvSpPr/>
            <p:nvPr>
              <p:custDataLst>
                <p:tags r:id="rId179"/>
              </p:custDataLst>
            </p:nvPr>
          </p:nvSpPr>
          <p:spPr bwMode="auto">
            <a:xfrm flipH="1">
              <a:off x="3657892" y="5936416"/>
              <a:ext cx="27353" cy="25789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8" name="椭圆 1587"/>
            <p:cNvSpPr/>
            <p:nvPr>
              <p:custDataLst>
                <p:tags r:id="rId180"/>
              </p:custDataLst>
            </p:nvPr>
          </p:nvSpPr>
          <p:spPr bwMode="auto">
            <a:xfrm flipH="1">
              <a:off x="3586773" y="5936416"/>
              <a:ext cx="25530" cy="25789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89" name="椭圆 1588"/>
            <p:cNvSpPr/>
            <p:nvPr>
              <p:custDataLst>
                <p:tags r:id="rId181"/>
              </p:custDataLst>
            </p:nvPr>
          </p:nvSpPr>
          <p:spPr bwMode="auto">
            <a:xfrm flipH="1">
              <a:off x="3657892" y="5993153"/>
              <a:ext cx="27353" cy="26650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0" name="椭圆 1589"/>
            <p:cNvSpPr/>
            <p:nvPr>
              <p:custDataLst>
                <p:tags r:id="rId182"/>
              </p:custDataLst>
            </p:nvPr>
          </p:nvSpPr>
          <p:spPr bwMode="auto">
            <a:xfrm flipH="1">
              <a:off x="3586773" y="5993153"/>
              <a:ext cx="25530" cy="26650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1" name="任意多边形: 形状 1590"/>
            <p:cNvSpPr/>
            <p:nvPr>
              <p:custDataLst>
                <p:tags r:id="rId183"/>
              </p:custDataLst>
            </p:nvPr>
          </p:nvSpPr>
          <p:spPr bwMode="auto">
            <a:xfrm flipH="1">
              <a:off x="1911835" y="2849383"/>
              <a:ext cx="418507" cy="183108"/>
            </a:xfrm>
            <a:custGeom>
              <a:avLst/>
              <a:gdLst>
                <a:gd name="T0" fmla="*/ 409 w 459"/>
                <a:gd name="T1" fmla="*/ 0 h 213"/>
                <a:gd name="T2" fmla="*/ 409 w 459"/>
                <a:gd name="T3" fmla="*/ 71 h 213"/>
                <a:gd name="T4" fmla="*/ 409 w 459"/>
                <a:gd name="T5" fmla="*/ 71 h 213"/>
                <a:gd name="T6" fmla="*/ 409 w 459"/>
                <a:gd name="T7" fmla="*/ 31 h 213"/>
                <a:gd name="T8" fmla="*/ 397 w 459"/>
                <a:gd name="T9" fmla="*/ 90 h 213"/>
                <a:gd name="T10" fmla="*/ 378 w 459"/>
                <a:gd name="T11" fmla="*/ 154 h 213"/>
                <a:gd name="T12" fmla="*/ 378 w 459"/>
                <a:gd name="T13" fmla="*/ 194 h 213"/>
                <a:gd name="T14" fmla="*/ 378 w 459"/>
                <a:gd name="T15" fmla="*/ 194 h 213"/>
                <a:gd name="T16" fmla="*/ 378 w 459"/>
                <a:gd name="T17" fmla="*/ 0 h 213"/>
                <a:gd name="T18" fmla="*/ 369 w 459"/>
                <a:gd name="T19" fmla="*/ 71 h 213"/>
                <a:gd name="T20" fmla="*/ 378 w 459"/>
                <a:gd name="T21" fmla="*/ 130 h 213"/>
                <a:gd name="T22" fmla="*/ 378 w 459"/>
                <a:gd name="T23" fmla="*/ 0 h 213"/>
                <a:gd name="T24" fmla="*/ 317 w 459"/>
                <a:gd name="T25" fmla="*/ 194 h 213"/>
                <a:gd name="T26" fmla="*/ 317 w 459"/>
                <a:gd name="T27" fmla="*/ 0 h 213"/>
                <a:gd name="T28" fmla="*/ 317 w 459"/>
                <a:gd name="T29" fmla="*/ 130 h 213"/>
                <a:gd name="T30" fmla="*/ 328 w 459"/>
                <a:gd name="T31" fmla="*/ 71 h 213"/>
                <a:gd name="T32" fmla="*/ 347 w 459"/>
                <a:gd name="T33" fmla="*/ 0 h 213"/>
                <a:gd name="T34" fmla="*/ 288 w 459"/>
                <a:gd name="T35" fmla="*/ 194 h 213"/>
                <a:gd name="T36" fmla="*/ 288 w 459"/>
                <a:gd name="T37" fmla="*/ 0 h 213"/>
                <a:gd name="T38" fmla="*/ 288 w 459"/>
                <a:gd name="T39" fmla="*/ 71 h 213"/>
                <a:gd name="T40" fmla="*/ 298 w 459"/>
                <a:gd name="T41" fmla="*/ 130 h 213"/>
                <a:gd name="T42" fmla="*/ 317 w 459"/>
                <a:gd name="T43" fmla="*/ 0 h 213"/>
                <a:gd name="T44" fmla="*/ 257 w 459"/>
                <a:gd name="T45" fmla="*/ 194 h 213"/>
                <a:gd name="T46" fmla="*/ 257 w 459"/>
                <a:gd name="T47" fmla="*/ 0 h 213"/>
                <a:gd name="T48" fmla="*/ 257 w 459"/>
                <a:gd name="T49" fmla="*/ 130 h 213"/>
                <a:gd name="T50" fmla="*/ 267 w 459"/>
                <a:gd name="T51" fmla="*/ 71 h 213"/>
                <a:gd name="T52" fmla="*/ 288 w 459"/>
                <a:gd name="T53" fmla="*/ 0 h 213"/>
                <a:gd name="T54" fmla="*/ 227 w 459"/>
                <a:gd name="T55" fmla="*/ 194 h 213"/>
                <a:gd name="T56" fmla="*/ 227 w 459"/>
                <a:gd name="T57" fmla="*/ 0 h 213"/>
                <a:gd name="T58" fmla="*/ 227 w 459"/>
                <a:gd name="T59" fmla="*/ 71 h 213"/>
                <a:gd name="T60" fmla="*/ 239 w 459"/>
                <a:gd name="T61" fmla="*/ 130 h 213"/>
                <a:gd name="T62" fmla="*/ 257 w 459"/>
                <a:gd name="T63" fmla="*/ 0 h 213"/>
                <a:gd name="T64" fmla="*/ 198 w 459"/>
                <a:gd name="T65" fmla="*/ 194 h 213"/>
                <a:gd name="T66" fmla="*/ 198 w 459"/>
                <a:gd name="T67" fmla="*/ 0 h 213"/>
                <a:gd name="T68" fmla="*/ 198 w 459"/>
                <a:gd name="T69" fmla="*/ 130 h 213"/>
                <a:gd name="T70" fmla="*/ 208 w 459"/>
                <a:gd name="T71" fmla="*/ 71 h 213"/>
                <a:gd name="T72" fmla="*/ 227 w 459"/>
                <a:gd name="T73" fmla="*/ 0 h 213"/>
                <a:gd name="T74" fmla="*/ 168 w 459"/>
                <a:gd name="T75" fmla="*/ 194 h 213"/>
                <a:gd name="T76" fmla="*/ 168 w 459"/>
                <a:gd name="T77" fmla="*/ 0 h 213"/>
                <a:gd name="T78" fmla="*/ 168 w 459"/>
                <a:gd name="T79" fmla="*/ 71 h 213"/>
                <a:gd name="T80" fmla="*/ 177 w 459"/>
                <a:gd name="T81" fmla="*/ 130 h 213"/>
                <a:gd name="T82" fmla="*/ 198 w 459"/>
                <a:gd name="T83" fmla="*/ 0 h 213"/>
                <a:gd name="T84" fmla="*/ 137 w 459"/>
                <a:gd name="T85" fmla="*/ 194 h 213"/>
                <a:gd name="T86" fmla="*/ 137 w 459"/>
                <a:gd name="T87" fmla="*/ 0 h 213"/>
                <a:gd name="T88" fmla="*/ 137 w 459"/>
                <a:gd name="T89" fmla="*/ 130 h 213"/>
                <a:gd name="T90" fmla="*/ 146 w 459"/>
                <a:gd name="T91" fmla="*/ 71 h 213"/>
                <a:gd name="T92" fmla="*/ 168 w 459"/>
                <a:gd name="T93" fmla="*/ 0 h 213"/>
                <a:gd name="T94" fmla="*/ 106 w 459"/>
                <a:gd name="T95" fmla="*/ 194 h 213"/>
                <a:gd name="T96" fmla="*/ 106 w 459"/>
                <a:gd name="T97" fmla="*/ 0 h 213"/>
                <a:gd name="T98" fmla="*/ 106 w 459"/>
                <a:gd name="T99" fmla="*/ 71 h 213"/>
                <a:gd name="T100" fmla="*/ 118 w 459"/>
                <a:gd name="T101" fmla="*/ 130 h 213"/>
                <a:gd name="T102" fmla="*/ 137 w 459"/>
                <a:gd name="T103" fmla="*/ 0 h 213"/>
                <a:gd name="T104" fmla="*/ 78 w 459"/>
                <a:gd name="T105" fmla="*/ 194 h 213"/>
                <a:gd name="T106" fmla="*/ 78 w 459"/>
                <a:gd name="T107" fmla="*/ 0 h 213"/>
                <a:gd name="T108" fmla="*/ 78 w 459"/>
                <a:gd name="T109" fmla="*/ 130 h 213"/>
                <a:gd name="T110" fmla="*/ 87 w 459"/>
                <a:gd name="T111" fmla="*/ 71 h 213"/>
                <a:gd name="T112" fmla="*/ 106 w 459"/>
                <a:gd name="T113" fmla="*/ 0 h 213"/>
                <a:gd name="T114" fmla="*/ 78 w 459"/>
                <a:gd name="T115" fmla="*/ 154 h 213"/>
                <a:gd name="T116" fmla="*/ 56 w 459"/>
                <a:gd name="T117" fmla="*/ 90 h 213"/>
                <a:gd name="T118" fmla="*/ 47 w 459"/>
                <a:gd name="T119" fmla="*/ 31 h 213"/>
                <a:gd name="T120" fmla="*/ 47 w 459"/>
                <a:gd name="T121" fmla="*/ 213 h 213"/>
                <a:gd name="T122" fmla="*/ 26 w 459"/>
                <a:gd name="T123" fmla="*/ 71 h 213"/>
                <a:gd name="T124" fmla="*/ 47 w 459"/>
                <a:gd name="T125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9" h="213">
                  <a:moveTo>
                    <a:pt x="409" y="213"/>
                  </a:moveTo>
                  <a:lnTo>
                    <a:pt x="459" y="213"/>
                  </a:lnTo>
                  <a:lnTo>
                    <a:pt x="459" y="0"/>
                  </a:lnTo>
                  <a:lnTo>
                    <a:pt x="409" y="0"/>
                  </a:lnTo>
                  <a:lnTo>
                    <a:pt x="409" y="31"/>
                  </a:lnTo>
                  <a:lnTo>
                    <a:pt x="428" y="31"/>
                  </a:lnTo>
                  <a:lnTo>
                    <a:pt x="428" y="71"/>
                  </a:lnTo>
                  <a:lnTo>
                    <a:pt x="409" y="71"/>
                  </a:lnTo>
                  <a:lnTo>
                    <a:pt x="409" y="213"/>
                  </a:lnTo>
                  <a:close/>
                  <a:moveTo>
                    <a:pt x="378" y="213"/>
                  </a:moveTo>
                  <a:lnTo>
                    <a:pt x="409" y="213"/>
                  </a:lnTo>
                  <a:lnTo>
                    <a:pt x="409" y="71"/>
                  </a:lnTo>
                  <a:lnTo>
                    <a:pt x="388" y="71"/>
                  </a:lnTo>
                  <a:lnTo>
                    <a:pt x="388" y="31"/>
                  </a:lnTo>
                  <a:lnTo>
                    <a:pt x="388" y="31"/>
                  </a:lnTo>
                  <a:lnTo>
                    <a:pt x="409" y="31"/>
                  </a:lnTo>
                  <a:lnTo>
                    <a:pt x="409" y="0"/>
                  </a:lnTo>
                  <a:lnTo>
                    <a:pt x="378" y="0"/>
                  </a:lnTo>
                  <a:lnTo>
                    <a:pt x="378" y="90"/>
                  </a:lnTo>
                  <a:lnTo>
                    <a:pt x="397" y="90"/>
                  </a:lnTo>
                  <a:lnTo>
                    <a:pt x="397" y="130"/>
                  </a:lnTo>
                  <a:lnTo>
                    <a:pt x="397" y="130"/>
                  </a:lnTo>
                  <a:lnTo>
                    <a:pt x="378" y="130"/>
                  </a:lnTo>
                  <a:lnTo>
                    <a:pt x="378" y="154"/>
                  </a:lnTo>
                  <a:lnTo>
                    <a:pt x="378" y="154"/>
                  </a:lnTo>
                  <a:lnTo>
                    <a:pt x="378" y="194"/>
                  </a:lnTo>
                  <a:lnTo>
                    <a:pt x="378" y="194"/>
                  </a:lnTo>
                  <a:lnTo>
                    <a:pt x="378" y="194"/>
                  </a:lnTo>
                  <a:lnTo>
                    <a:pt x="378" y="213"/>
                  </a:lnTo>
                  <a:close/>
                  <a:moveTo>
                    <a:pt x="347" y="213"/>
                  </a:moveTo>
                  <a:lnTo>
                    <a:pt x="378" y="213"/>
                  </a:lnTo>
                  <a:lnTo>
                    <a:pt x="378" y="194"/>
                  </a:lnTo>
                  <a:lnTo>
                    <a:pt x="347" y="194"/>
                  </a:lnTo>
                  <a:lnTo>
                    <a:pt x="347" y="213"/>
                  </a:lnTo>
                  <a:lnTo>
                    <a:pt x="347" y="213"/>
                  </a:lnTo>
                  <a:close/>
                  <a:moveTo>
                    <a:pt x="378" y="0"/>
                  </a:moveTo>
                  <a:lnTo>
                    <a:pt x="347" y="0"/>
                  </a:lnTo>
                  <a:lnTo>
                    <a:pt x="347" y="31"/>
                  </a:lnTo>
                  <a:lnTo>
                    <a:pt x="369" y="31"/>
                  </a:lnTo>
                  <a:lnTo>
                    <a:pt x="369" y="71"/>
                  </a:lnTo>
                  <a:lnTo>
                    <a:pt x="347" y="71"/>
                  </a:lnTo>
                  <a:lnTo>
                    <a:pt x="347" y="154"/>
                  </a:lnTo>
                  <a:lnTo>
                    <a:pt x="378" y="154"/>
                  </a:lnTo>
                  <a:lnTo>
                    <a:pt x="378" y="130"/>
                  </a:lnTo>
                  <a:lnTo>
                    <a:pt x="357" y="130"/>
                  </a:lnTo>
                  <a:lnTo>
                    <a:pt x="357" y="90"/>
                  </a:lnTo>
                  <a:lnTo>
                    <a:pt x="378" y="90"/>
                  </a:lnTo>
                  <a:lnTo>
                    <a:pt x="378" y="0"/>
                  </a:lnTo>
                  <a:close/>
                  <a:moveTo>
                    <a:pt x="317" y="213"/>
                  </a:moveTo>
                  <a:lnTo>
                    <a:pt x="347" y="213"/>
                  </a:lnTo>
                  <a:lnTo>
                    <a:pt x="347" y="194"/>
                  </a:lnTo>
                  <a:lnTo>
                    <a:pt x="317" y="194"/>
                  </a:lnTo>
                  <a:lnTo>
                    <a:pt x="317" y="213"/>
                  </a:lnTo>
                  <a:lnTo>
                    <a:pt x="317" y="213"/>
                  </a:lnTo>
                  <a:close/>
                  <a:moveTo>
                    <a:pt x="347" y="0"/>
                  </a:moveTo>
                  <a:lnTo>
                    <a:pt x="317" y="0"/>
                  </a:lnTo>
                  <a:lnTo>
                    <a:pt x="317" y="90"/>
                  </a:lnTo>
                  <a:lnTo>
                    <a:pt x="338" y="90"/>
                  </a:lnTo>
                  <a:lnTo>
                    <a:pt x="338" y="130"/>
                  </a:lnTo>
                  <a:lnTo>
                    <a:pt x="317" y="130"/>
                  </a:lnTo>
                  <a:lnTo>
                    <a:pt x="317" y="154"/>
                  </a:lnTo>
                  <a:lnTo>
                    <a:pt x="347" y="154"/>
                  </a:lnTo>
                  <a:lnTo>
                    <a:pt x="347" y="71"/>
                  </a:lnTo>
                  <a:lnTo>
                    <a:pt x="328" y="7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47" y="31"/>
                  </a:lnTo>
                  <a:lnTo>
                    <a:pt x="347" y="0"/>
                  </a:lnTo>
                  <a:close/>
                  <a:moveTo>
                    <a:pt x="288" y="213"/>
                  </a:moveTo>
                  <a:lnTo>
                    <a:pt x="317" y="213"/>
                  </a:lnTo>
                  <a:lnTo>
                    <a:pt x="317" y="194"/>
                  </a:lnTo>
                  <a:lnTo>
                    <a:pt x="288" y="194"/>
                  </a:lnTo>
                  <a:lnTo>
                    <a:pt x="288" y="213"/>
                  </a:lnTo>
                  <a:lnTo>
                    <a:pt x="288" y="213"/>
                  </a:lnTo>
                  <a:close/>
                  <a:moveTo>
                    <a:pt x="317" y="0"/>
                  </a:moveTo>
                  <a:lnTo>
                    <a:pt x="288" y="0"/>
                  </a:lnTo>
                  <a:lnTo>
                    <a:pt x="288" y="31"/>
                  </a:lnTo>
                  <a:lnTo>
                    <a:pt x="307" y="31"/>
                  </a:lnTo>
                  <a:lnTo>
                    <a:pt x="307" y="71"/>
                  </a:lnTo>
                  <a:lnTo>
                    <a:pt x="288" y="71"/>
                  </a:lnTo>
                  <a:lnTo>
                    <a:pt x="288" y="154"/>
                  </a:lnTo>
                  <a:lnTo>
                    <a:pt x="317" y="154"/>
                  </a:lnTo>
                  <a:lnTo>
                    <a:pt x="317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8" y="90"/>
                  </a:lnTo>
                  <a:lnTo>
                    <a:pt x="317" y="90"/>
                  </a:lnTo>
                  <a:lnTo>
                    <a:pt x="317" y="0"/>
                  </a:lnTo>
                  <a:close/>
                  <a:moveTo>
                    <a:pt x="257" y="213"/>
                  </a:moveTo>
                  <a:lnTo>
                    <a:pt x="288" y="213"/>
                  </a:lnTo>
                  <a:lnTo>
                    <a:pt x="288" y="194"/>
                  </a:lnTo>
                  <a:lnTo>
                    <a:pt x="257" y="194"/>
                  </a:lnTo>
                  <a:lnTo>
                    <a:pt x="257" y="213"/>
                  </a:lnTo>
                  <a:lnTo>
                    <a:pt x="257" y="213"/>
                  </a:lnTo>
                  <a:close/>
                  <a:moveTo>
                    <a:pt x="288" y="0"/>
                  </a:moveTo>
                  <a:lnTo>
                    <a:pt x="257" y="0"/>
                  </a:lnTo>
                  <a:lnTo>
                    <a:pt x="257" y="90"/>
                  </a:lnTo>
                  <a:lnTo>
                    <a:pt x="276" y="90"/>
                  </a:lnTo>
                  <a:lnTo>
                    <a:pt x="276" y="130"/>
                  </a:lnTo>
                  <a:lnTo>
                    <a:pt x="257" y="130"/>
                  </a:lnTo>
                  <a:lnTo>
                    <a:pt x="257" y="154"/>
                  </a:lnTo>
                  <a:lnTo>
                    <a:pt x="288" y="154"/>
                  </a:lnTo>
                  <a:lnTo>
                    <a:pt x="288" y="71"/>
                  </a:lnTo>
                  <a:lnTo>
                    <a:pt x="267" y="71"/>
                  </a:lnTo>
                  <a:lnTo>
                    <a:pt x="267" y="31"/>
                  </a:lnTo>
                  <a:lnTo>
                    <a:pt x="267" y="31"/>
                  </a:lnTo>
                  <a:lnTo>
                    <a:pt x="288" y="31"/>
                  </a:lnTo>
                  <a:lnTo>
                    <a:pt x="288" y="0"/>
                  </a:lnTo>
                  <a:close/>
                  <a:moveTo>
                    <a:pt x="227" y="213"/>
                  </a:moveTo>
                  <a:lnTo>
                    <a:pt x="257" y="213"/>
                  </a:lnTo>
                  <a:lnTo>
                    <a:pt x="257" y="194"/>
                  </a:lnTo>
                  <a:lnTo>
                    <a:pt x="227" y="194"/>
                  </a:lnTo>
                  <a:lnTo>
                    <a:pt x="227" y="213"/>
                  </a:lnTo>
                  <a:lnTo>
                    <a:pt x="227" y="213"/>
                  </a:lnTo>
                  <a:close/>
                  <a:moveTo>
                    <a:pt x="257" y="0"/>
                  </a:moveTo>
                  <a:lnTo>
                    <a:pt x="227" y="0"/>
                  </a:lnTo>
                  <a:lnTo>
                    <a:pt x="227" y="31"/>
                  </a:lnTo>
                  <a:lnTo>
                    <a:pt x="248" y="31"/>
                  </a:lnTo>
                  <a:lnTo>
                    <a:pt x="248" y="71"/>
                  </a:lnTo>
                  <a:lnTo>
                    <a:pt x="227" y="71"/>
                  </a:lnTo>
                  <a:lnTo>
                    <a:pt x="227" y="154"/>
                  </a:lnTo>
                  <a:lnTo>
                    <a:pt x="257" y="154"/>
                  </a:lnTo>
                  <a:lnTo>
                    <a:pt x="257" y="130"/>
                  </a:lnTo>
                  <a:lnTo>
                    <a:pt x="239" y="130"/>
                  </a:lnTo>
                  <a:lnTo>
                    <a:pt x="239" y="130"/>
                  </a:lnTo>
                  <a:lnTo>
                    <a:pt x="239" y="90"/>
                  </a:lnTo>
                  <a:lnTo>
                    <a:pt x="257" y="90"/>
                  </a:lnTo>
                  <a:lnTo>
                    <a:pt x="257" y="0"/>
                  </a:lnTo>
                  <a:close/>
                  <a:moveTo>
                    <a:pt x="198" y="213"/>
                  </a:moveTo>
                  <a:lnTo>
                    <a:pt x="227" y="213"/>
                  </a:lnTo>
                  <a:lnTo>
                    <a:pt x="227" y="194"/>
                  </a:lnTo>
                  <a:lnTo>
                    <a:pt x="198" y="194"/>
                  </a:lnTo>
                  <a:lnTo>
                    <a:pt x="198" y="213"/>
                  </a:lnTo>
                  <a:lnTo>
                    <a:pt x="198" y="213"/>
                  </a:lnTo>
                  <a:close/>
                  <a:moveTo>
                    <a:pt x="227" y="0"/>
                  </a:moveTo>
                  <a:lnTo>
                    <a:pt x="198" y="0"/>
                  </a:lnTo>
                  <a:lnTo>
                    <a:pt x="198" y="90"/>
                  </a:lnTo>
                  <a:lnTo>
                    <a:pt x="217" y="90"/>
                  </a:lnTo>
                  <a:lnTo>
                    <a:pt x="217" y="130"/>
                  </a:lnTo>
                  <a:lnTo>
                    <a:pt x="198" y="130"/>
                  </a:lnTo>
                  <a:lnTo>
                    <a:pt x="198" y="154"/>
                  </a:lnTo>
                  <a:lnTo>
                    <a:pt x="227" y="154"/>
                  </a:lnTo>
                  <a:lnTo>
                    <a:pt x="227" y="71"/>
                  </a:lnTo>
                  <a:lnTo>
                    <a:pt x="208" y="7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27" y="31"/>
                  </a:lnTo>
                  <a:lnTo>
                    <a:pt x="227" y="0"/>
                  </a:lnTo>
                  <a:close/>
                  <a:moveTo>
                    <a:pt x="168" y="213"/>
                  </a:moveTo>
                  <a:lnTo>
                    <a:pt x="198" y="213"/>
                  </a:lnTo>
                  <a:lnTo>
                    <a:pt x="198" y="194"/>
                  </a:lnTo>
                  <a:lnTo>
                    <a:pt x="168" y="194"/>
                  </a:lnTo>
                  <a:lnTo>
                    <a:pt x="168" y="213"/>
                  </a:lnTo>
                  <a:lnTo>
                    <a:pt x="168" y="213"/>
                  </a:lnTo>
                  <a:close/>
                  <a:moveTo>
                    <a:pt x="198" y="0"/>
                  </a:moveTo>
                  <a:lnTo>
                    <a:pt x="168" y="0"/>
                  </a:lnTo>
                  <a:lnTo>
                    <a:pt x="168" y="31"/>
                  </a:lnTo>
                  <a:lnTo>
                    <a:pt x="186" y="31"/>
                  </a:lnTo>
                  <a:lnTo>
                    <a:pt x="186" y="71"/>
                  </a:lnTo>
                  <a:lnTo>
                    <a:pt x="168" y="71"/>
                  </a:lnTo>
                  <a:lnTo>
                    <a:pt x="168" y="154"/>
                  </a:lnTo>
                  <a:lnTo>
                    <a:pt x="198" y="154"/>
                  </a:lnTo>
                  <a:lnTo>
                    <a:pt x="198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90"/>
                  </a:lnTo>
                  <a:lnTo>
                    <a:pt x="198" y="90"/>
                  </a:lnTo>
                  <a:lnTo>
                    <a:pt x="198" y="0"/>
                  </a:lnTo>
                  <a:close/>
                  <a:moveTo>
                    <a:pt x="137" y="213"/>
                  </a:moveTo>
                  <a:lnTo>
                    <a:pt x="168" y="213"/>
                  </a:lnTo>
                  <a:lnTo>
                    <a:pt x="168" y="194"/>
                  </a:lnTo>
                  <a:lnTo>
                    <a:pt x="137" y="194"/>
                  </a:lnTo>
                  <a:lnTo>
                    <a:pt x="137" y="213"/>
                  </a:lnTo>
                  <a:lnTo>
                    <a:pt x="137" y="213"/>
                  </a:lnTo>
                  <a:close/>
                  <a:moveTo>
                    <a:pt x="168" y="0"/>
                  </a:moveTo>
                  <a:lnTo>
                    <a:pt x="137" y="0"/>
                  </a:lnTo>
                  <a:lnTo>
                    <a:pt x="137" y="90"/>
                  </a:lnTo>
                  <a:lnTo>
                    <a:pt x="158" y="90"/>
                  </a:lnTo>
                  <a:lnTo>
                    <a:pt x="158" y="130"/>
                  </a:lnTo>
                  <a:lnTo>
                    <a:pt x="137" y="130"/>
                  </a:lnTo>
                  <a:lnTo>
                    <a:pt x="137" y="154"/>
                  </a:lnTo>
                  <a:lnTo>
                    <a:pt x="168" y="154"/>
                  </a:lnTo>
                  <a:lnTo>
                    <a:pt x="168" y="71"/>
                  </a:lnTo>
                  <a:lnTo>
                    <a:pt x="146" y="7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68" y="31"/>
                  </a:lnTo>
                  <a:lnTo>
                    <a:pt x="168" y="0"/>
                  </a:lnTo>
                  <a:close/>
                  <a:moveTo>
                    <a:pt x="106" y="213"/>
                  </a:moveTo>
                  <a:lnTo>
                    <a:pt x="137" y="213"/>
                  </a:lnTo>
                  <a:lnTo>
                    <a:pt x="137" y="194"/>
                  </a:lnTo>
                  <a:lnTo>
                    <a:pt x="106" y="194"/>
                  </a:lnTo>
                  <a:lnTo>
                    <a:pt x="106" y="213"/>
                  </a:lnTo>
                  <a:lnTo>
                    <a:pt x="106" y="213"/>
                  </a:lnTo>
                  <a:close/>
                  <a:moveTo>
                    <a:pt x="137" y="0"/>
                  </a:moveTo>
                  <a:lnTo>
                    <a:pt x="106" y="0"/>
                  </a:lnTo>
                  <a:lnTo>
                    <a:pt x="106" y="31"/>
                  </a:lnTo>
                  <a:lnTo>
                    <a:pt x="127" y="31"/>
                  </a:lnTo>
                  <a:lnTo>
                    <a:pt x="127" y="71"/>
                  </a:lnTo>
                  <a:lnTo>
                    <a:pt x="106" y="71"/>
                  </a:lnTo>
                  <a:lnTo>
                    <a:pt x="106" y="154"/>
                  </a:lnTo>
                  <a:lnTo>
                    <a:pt x="137" y="154"/>
                  </a:lnTo>
                  <a:lnTo>
                    <a:pt x="137" y="130"/>
                  </a:lnTo>
                  <a:lnTo>
                    <a:pt x="118" y="130"/>
                  </a:lnTo>
                  <a:lnTo>
                    <a:pt x="118" y="130"/>
                  </a:lnTo>
                  <a:lnTo>
                    <a:pt x="118" y="90"/>
                  </a:lnTo>
                  <a:lnTo>
                    <a:pt x="137" y="90"/>
                  </a:lnTo>
                  <a:lnTo>
                    <a:pt x="137" y="0"/>
                  </a:lnTo>
                  <a:close/>
                  <a:moveTo>
                    <a:pt x="78" y="213"/>
                  </a:moveTo>
                  <a:lnTo>
                    <a:pt x="106" y="213"/>
                  </a:lnTo>
                  <a:lnTo>
                    <a:pt x="106" y="194"/>
                  </a:lnTo>
                  <a:lnTo>
                    <a:pt x="78" y="194"/>
                  </a:lnTo>
                  <a:lnTo>
                    <a:pt x="78" y="213"/>
                  </a:lnTo>
                  <a:lnTo>
                    <a:pt x="78" y="213"/>
                  </a:lnTo>
                  <a:close/>
                  <a:moveTo>
                    <a:pt x="106" y="0"/>
                  </a:moveTo>
                  <a:lnTo>
                    <a:pt x="78" y="0"/>
                  </a:lnTo>
                  <a:lnTo>
                    <a:pt x="78" y="90"/>
                  </a:lnTo>
                  <a:lnTo>
                    <a:pt x="97" y="90"/>
                  </a:lnTo>
                  <a:lnTo>
                    <a:pt x="97" y="130"/>
                  </a:lnTo>
                  <a:lnTo>
                    <a:pt x="78" y="130"/>
                  </a:lnTo>
                  <a:lnTo>
                    <a:pt x="78" y="154"/>
                  </a:lnTo>
                  <a:lnTo>
                    <a:pt x="106" y="154"/>
                  </a:lnTo>
                  <a:lnTo>
                    <a:pt x="106" y="71"/>
                  </a:lnTo>
                  <a:lnTo>
                    <a:pt x="87" y="7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106" y="31"/>
                  </a:lnTo>
                  <a:lnTo>
                    <a:pt x="106" y="0"/>
                  </a:lnTo>
                  <a:close/>
                  <a:moveTo>
                    <a:pt x="47" y="213"/>
                  </a:moveTo>
                  <a:lnTo>
                    <a:pt x="78" y="213"/>
                  </a:lnTo>
                  <a:lnTo>
                    <a:pt x="78" y="194"/>
                  </a:lnTo>
                  <a:lnTo>
                    <a:pt x="78" y="154"/>
                  </a:lnTo>
                  <a:lnTo>
                    <a:pt x="78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90"/>
                  </a:lnTo>
                  <a:lnTo>
                    <a:pt x="78" y="90"/>
                  </a:lnTo>
                  <a:lnTo>
                    <a:pt x="78" y="0"/>
                  </a:lnTo>
                  <a:lnTo>
                    <a:pt x="47" y="0"/>
                  </a:lnTo>
                  <a:lnTo>
                    <a:pt x="47" y="31"/>
                  </a:lnTo>
                  <a:lnTo>
                    <a:pt x="66" y="31"/>
                  </a:lnTo>
                  <a:lnTo>
                    <a:pt x="66" y="71"/>
                  </a:lnTo>
                  <a:lnTo>
                    <a:pt x="47" y="71"/>
                  </a:lnTo>
                  <a:lnTo>
                    <a:pt x="47" y="213"/>
                  </a:lnTo>
                  <a:close/>
                  <a:moveTo>
                    <a:pt x="0" y="213"/>
                  </a:moveTo>
                  <a:lnTo>
                    <a:pt x="47" y="213"/>
                  </a:lnTo>
                  <a:lnTo>
                    <a:pt x="47" y="71"/>
                  </a:lnTo>
                  <a:lnTo>
                    <a:pt x="26" y="7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47" y="31"/>
                  </a:lnTo>
                  <a:lnTo>
                    <a:pt x="47" y="0"/>
                  </a:lnTo>
                  <a:lnTo>
                    <a:pt x="0" y="0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2" name="任意多边形: 形状 1591"/>
            <p:cNvSpPr/>
            <p:nvPr>
              <p:custDataLst>
                <p:tags r:id="rId184"/>
              </p:custDataLst>
            </p:nvPr>
          </p:nvSpPr>
          <p:spPr bwMode="auto">
            <a:xfrm flipH="1">
              <a:off x="2011219" y="2765996"/>
              <a:ext cx="241622" cy="55018"/>
            </a:xfrm>
            <a:custGeom>
              <a:avLst/>
              <a:gdLst>
                <a:gd name="T0" fmla="*/ 0 w 112"/>
                <a:gd name="T1" fmla="*/ 13 h 27"/>
                <a:gd name="T2" fmla="*/ 8 w 112"/>
                <a:gd name="T3" fmla="*/ 27 h 27"/>
                <a:gd name="T4" fmla="*/ 56 w 112"/>
                <a:gd name="T5" fmla="*/ 16 h 27"/>
                <a:gd name="T6" fmla="*/ 104 w 112"/>
                <a:gd name="T7" fmla="*/ 27 h 27"/>
                <a:gd name="T8" fmla="*/ 112 w 112"/>
                <a:gd name="T9" fmla="*/ 13 h 27"/>
                <a:gd name="T10" fmla="*/ 56 w 112"/>
                <a:gd name="T11" fmla="*/ 0 h 27"/>
                <a:gd name="T12" fmla="*/ 0 w 112"/>
                <a:gd name="T13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7">
                  <a:moveTo>
                    <a:pt x="0" y="13"/>
                  </a:moveTo>
                  <a:cubicBezTo>
                    <a:pt x="8" y="27"/>
                    <a:pt x="8" y="27"/>
                    <a:pt x="8" y="27"/>
                  </a:cubicBezTo>
                  <a:cubicBezTo>
                    <a:pt x="21" y="20"/>
                    <a:pt x="38" y="16"/>
                    <a:pt x="56" y="16"/>
                  </a:cubicBezTo>
                  <a:cubicBezTo>
                    <a:pt x="74" y="16"/>
                    <a:pt x="91" y="20"/>
                    <a:pt x="104" y="27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96" y="5"/>
                    <a:pt x="76" y="0"/>
                    <a:pt x="56" y="0"/>
                  </a:cubicBezTo>
                  <a:cubicBezTo>
                    <a:pt x="36" y="0"/>
                    <a:pt x="16" y="5"/>
                    <a:pt x="0" y="1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3" name="任意多边形: 形状 1592"/>
            <p:cNvSpPr/>
            <p:nvPr>
              <p:custDataLst>
                <p:tags r:id="rId185"/>
              </p:custDataLst>
            </p:nvPr>
          </p:nvSpPr>
          <p:spPr bwMode="auto">
            <a:xfrm flipH="1">
              <a:off x="1970189" y="2704960"/>
              <a:ext cx="323682" cy="63615"/>
            </a:xfrm>
            <a:custGeom>
              <a:avLst/>
              <a:gdLst>
                <a:gd name="T0" fmla="*/ 150 w 150"/>
                <a:gd name="T1" fmla="*/ 17 h 31"/>
                <a:gd name="T2" fmla="*/ 75 w 150"/>
                <a:gd name="T3" fmla="*/ 0 h 31"/>
                <a:gd name="T4" fmla="*/ 0 w 150"/>
                <a:gd name="T5" fmla="*/ 17 h 31"/>
                <a:gd name="T6" fmla="*/ 8 w 150"/>
                <a:gd name="T7" fmla="*/ 31 h 31"/>
                <a:gd name="T8" fmla="*/ 75 w 150"/>
                <a:gd name="T9" fmla="*/ 15 h 31"/>
                <a:gd name="T10" fmla="*/ 142 w 150"/>
                <a:gd name="T11" fmla="*/ 31 h 31"/>
                <a:gd name="T12" fmla="*/ 150 w 150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1">
                  <a:moveTo>
                    <a:pt x="150" y="17"/>
                  </a:moveTo>
                  <a:cubicBezTo>
                    <a:pt x="129" y="6"/>
                    <a:pt x="102" y="0"/>
                    <a:pt x="75" y="0"/>
                  </a:cubicBezTo>
                  <a:cubicBezTo>
                    <a:pt x="48" y="0"/>
                    <a:pt x="21" y="6"/>
                    <a:pt x="0" y="17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27" y="21"/>
                    <a:pt x="50" y="15"/>
                    <a:pt x="75" y="15"/>
                  </a:cubicBezTo>
                  <a:cubicBezTo>
                    <a:pt x="100" y="15"/>
                    <a:pt x="123" y="21"/>
                    <a:pt x="142" y="31"/>
                  </a:cubicBezTo>
                  <a:lnTo>
                    <a:pt x="150" y="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4" name="任意多边形: 形状 1593"/>
            <p:cNvSpPr/>
            <p:nvPr>
              <p:custDataLst>
                <p:tags r:id="rId186"/>
              </p:custDataLst>
            </p:nvPr>
          </p:nvSpPr>
          <p:spPr bwMode="auto">
            <a:xfrm flipH="1">
              <a:off x="3239385" y="4553226"/>
              <a:ext cx="74766" cy="105738"/>
            </a:xfrm>
            <a:custGeom>
              <a:avLst/>
              <a:gdLst>
                <a:gd name="T0" fmla="*/ 25 w 35"/>
                <a:gd name="T1" fmla="*/ 49 h 52"/>
                <a:gd name="T2" fmla="*/ 30 w 35"/>
                <a:gd name="T3" fmla="*/ 41 h 52"/>
                <a:gd name="T4" fmla="*/ 10 w 35"/>
                <a:gd name="T5" fmla="*/ 8 h 52"/>
                <a:gd name="T6" fmla="*/ 5 w 35"/>
                <a:gd name="T7" fmla="*/ 0 h 52"/>
                <a:gd name="T8" fmla="*/ 0 w 35"/>
                <a:gd name="T9" fmla="*/ 9 h 52"/>
                <a:gd name="T10" fmla="*/ 25 w 35"/>
                <a:gd name="T11" fmla="*/ 4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52">
                  <a:moveTo>
                    <a:pt x="25" y="49"/>
                  </a:moveTo>
                  <a:cubicBezTo>
                    <a:pt x="31" y="52"/>
                    <a:pt x="35" y="44"/>
                    <a:pt x="30" y="41"/>
                  </a:cubicBezTo>
                  <a:cubicBezTo>
                    <a:pt x="18" y="34"/>
                    <a:pt x="10" y="21"/>
                    <a:pt x="10" y="8"/>
                  </a:cubicBezTo>
                  <a:cubicBezTo>
                    <a:pt x="8" y="5"/>
                    <a:pt x="6" y="3"/>
                    <a:pt x="5" y="0"/>
                  </a:cubicBezTo>
                  <a:cubicBezTo>
                    <a:pt x="4" y="3"/>
                    <a:pt x="2" y="6"/>
                    <a:pt x="0" y="9"/>
                  </a:cubicBezTo>
                  <a:cubicBezTo>
                    <a:pt x="1" y="25"/>
                    <a:pt x="11" y="41"/>
                    <a:pt x="25" y="4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5" name="任意多边形: 形状 1594"/>
            <p:cNvSpPr/>
            <p:nvPr>
              <p:custDataLst>
                <p:tags r:id="rId187"/>
              </p:custDataLst>
            </p:nvPr>
          </p:nvSpPr>
          <p:spPr bwMode="auto">
            <a:xfrm flipH="1">
              <a:off x="3144560" y="4362382"/>
              <a:ext cx="118531" cy="107458"/>
            </a:xfrm>
            <a:custGeom>
              <a:avLst/>
              <a:gdLst>
                <a:gd name="T0" fmla="*/ 50 w 55"/>
                <a:gd name="T1" fmla="*/ 17 h 53"/>
                <a:gd name="T2" fmla="*/ 26 w 55"/>
                <a:gd name="T3" fmla="*/ 0 h 53"/>
                <a:gd name="T4" fmla="*/ 20 w 55"/>
                <a:gd name="T5" fmla="*/ 1 h 53"/>
                <a:gd name="T6" fmla="*/ 0 w 55"/>
                <a:gd name="T7" fmla="*/ 13 h 53"/>
                <a:gd name="T8" fmla="*/ 6 w 55"/>
                <a:gd name="T9" fmla="*/ 18 h 53"/>
                <a:gd name="T10" fmla="*/ 16 w 55"/>
                <a:gd name="T11" fmla="*/ 14 h 53"/>
                <a:gd name="T12" fmla="*/ 20 w 55"/>
                <a:gd name="T13" fmla="*/ 14 h 53"/>
                <a:gd name="T14" fmla="*/ 34 w 55"/>
                <a:gd name="T15" fmla="*/ 23 h 53"/>
                <a:gd name="T16" fmla="*/ 26 w 55"/>
                <a:gd name="T17" fmla="*/ 41 h 53"/>
                <a:gd name="T18" fmla="*/ 15 w 55"/>
                <a:gd name="T19" fmla="*/ 45 h 53"/>
                <a:gd name="T20" fmla="*/ 14 w 55"/>
                <a:gd name="T21" fmla="*/ 52 h 53"/>
                <a:gd name="T22" fmla="*/ 21 w 55"/>
                <a:gd name="T23" fmla="*/ 53 h 53"/>
                <a:gd name="T24" fmla="*/ 38 w 55"/>
                <a:gd name="T25" fmla="*/ 49 h 53"/>
                <a:gd name="T26" fmla="*/ 50 w 55"/>
                <a:gd name="T27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53">
                  <a:moveTo>
                    <a:pt x="50" y="17"/>
                  </a:moveTo>
                  <a:cubicBezTo>
                    <a:pt x="46" y="6"/>
                    <a:pt x="36" y="0"/>
                    <a:pt x="26" y="0"/>
                  </a:cubicBezTo>
                  <a:cubicBezTo>
                    <a:pt x="24" y="0"/>
                    <a:pt x="22" y="0"/>
                    <a:pt x="20" y="1"/>
                  </a:cubicBezTo>
                  <a:cubicBezTo>
                    <a:pt x="13" y="2"/>
                    <a:pt x="6" y="7"/>
                    <a:pt x="0" y="13"/>
                  </a:cubicBezTo>
                  <a:cubicBezTo>
                    <a:pt x="2" y="15"/>
                    <a:pt x="4" y="17"/>
                    <a:pt x="6" y="18"/>
                  </a:cubicBezTo>
                  <a:cubicBezTo>
                    <a:pt x="9" y="16"/>
                    <a:pt x="13" y="15"/>
                    <a:pt x="16" y="14"/>
                  </a:cubicBezTo>
                  <a:cubicBezTo>
                    <a:pt x="17" y="14"/>
                    <a:pt x="18" y="14"/>
                    <a:pt x="20" y="14"/>
                  </a:cubicBezTo>
                  <a:cubicBezTo>
                    <a:pt x="26" y="14"/>
                    <a:pt x="32" y="17"/>
                    <a:pt x="34" y="23"/>
                  </a:cubicBezTo>
                  <a:cubicBezTo>
                    <a:pt x="36" y="30"/>
                    <a:pt x="33" y="37"/>
                    <a:pt x="26" y="41"/>
                  </a:cubicBezTo>
                  <a:cubicBezTo>
                    <a:pt x="23" y="43"/>
                    <a:pt x="19" y="44"/>
                    <a:pt x="15" y="45"/>
                  </a:cubicBezTo>
                  <a:cubicBezTo>
                    <a:pt x="15" y="47"/>
                    <a:pt x="15" y="50"/>
                    <a:pt x="14" y="52"/>
                  </a:cubicBezTo>
                  <a:cubicBezTo>
                    <a:pt x="16" y="53"/>
                    <a:pt x="19" y="53"/>
                    <a:pt x="21" y="53"/>
                  </a:cubicBezTo>
                  <a:cubicBezTo>
                    <a:pt x="27" y="53"/>
                    <a:pt x="33" y="52"/>
                    <a:pt x="38" y="49"/>
                  </a:cubicBezTo>
                  <a:cubicBezTo>
                    <a:pt x="49" y="43"/>
                    <a:pt x="55" y="29"/>
                    <a:pt x="50" y="1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6" name="任意多边形: 形状 1595"/>
            <p:cNvSpPr/>
            <p:nvPr>
              <p:custDataLst>
                <p:tags r:id="rId188"/>
              </p:custDataLst>
            </p:nvPr>
          </p:nvSpPr>
          <p:spPr bwMode="auto">
            <a:xfrm flipH="1">
              <a:off x="3256708" y="4295329"/>
              <a:ext cx="113973" cy="95421"/>
            </a:xfrm>
            <a:custGeom>
              <a:avLst/>
              <a:gdLst>
                <a:gd name="T0" fmla="*/ 52 w 53"/>
                <a:gd name="T1" fmla="*/ 22 h 47"/>
                <a:gd name="T2" fmla="*/ 27 w 53"/>
                <a:gd name="T3" fmla="*/ 0 h 47"/>
                <a:gd name="T4" fmla="*/ 25 w 53"/>
                <a:gd name="T5" fmla="*/ 1 h 47"/>
                <a:gd name="T6" fmla="*/ 1 w 53"/>
                <a:gd name="T7" fmla="*/ 24 h 47"/>
                <a:gd name="T8" fmla="*/ 7 w 53"/>
                <a:gd name="T9" fmla="*/ 47 h 47"/>
                <a:gd name="T10" fmla="*/ 13 w 53"/>
                <a:gd name="T11" fmla="*/ 43 h 47"/>
                <a:gd name="T12" fmla="*/ 12 w 53"/>
                <a:gd name="T13" fmla="*/ 32 h 47"/>
                <a:gd name="T14" fmla="*/ 26 w 53"/>
                <a:gd name="T15" fmla="*/ 18 h 47"/>
                <a:gd name="T16" fmla="*/ 27 w 53"/>
                <a:gd name="T17" fmla="*/ 18 h 47"/>
                <a:gd name="T18" fmla="*/ 41 w 53"/>
                <a:gd name="T19" fmla="*/ 31 h 47"/>
                <a:gd name="T20" fmla="*/ 41 w 53"/>
                <a:gd name="T21" fmla="*/ 42 h 47"/>
                <a:gd name="T22" fmla="*/ 48 w 53"/>
                <a:gd name="T23" fmla="*/ 45 h 47"/>
                <a:gd name="T24" fmla="*/ 52 w 53"/>
                <a:gd name="T25" fmla="*/ 2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47">
                  <a:moveTo>
                    <a:pt x="52" y="22"/>
                  </a:moveTo>
                  <a:cubicBezTo>
                    <a:pt x="50" y="10"/>
                    <a:pt x="40" y="0"/>
                    <a:pt x="27" y="0"/>
                  </a:cubicBezTo>
                  <a:cubicBezTo>
                    <a:pt x="26" y="0"/>
                    <a:pt x="26" y="0"/>
                    <a:pt x="25" y="1"/>
                  </a:cubicBezTo>
                  <a:cubicBezTo>
                    <a:pt x="12" y="1"/>
                    <a:pt x="2" y="12"/>
                    <a:pt x="1" y="24"/>
                  </a:cubicBezTo>
                  <a:cubicBezTo>
                    <a:pt x="0" y="32"/>
                    <a:pt x="2" y="40"/>
                    <a:pt x="7" y="47"/>
                  </a:cubicBezTo>
                  <a:cubicBezTo>
                    <a:pt x="9" y="46"/>
                    <a:pt x="11" y="44"/>
                    <a:pt x="13" y="43"/>
                  </a:cubicBezTo>
                  <a:cubicBezTo>
                    <a:pt x="12" y="39"/>
                    <a:pt x="12" y="35"/>
                    <a:pt x="12" y="32"/>
                  </a:cubicBezTo>
                  <a:cubicBezTo>
                    <a:pt x="13" y="24"/>
                    <a:pt x="19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34" y="18"/>
                    <a:pt x="39" y="23"/>
                    <a:pt x="41" y="31"/>
                  </a:cubicBezTo>
                  <a:cubicBezTo>
                    <a:pt x="42" y="34"/>
                    <a:pt x="42" y="38"/>
                    <a:pt x="41" y="42"/>
                  </a:cubicBezTo>
                  <a:cubicBezTo>
                    <a:pt x="44" y="43"/>
                    <a:pt x="46" y="44"/>
                    <a:pt x="48" y="45"/>
                  </a:cubicBezTo>
                  <a:cubicBezTo>
                    <a:pt x="52" y="37"/>
                    <a:pt x="53" y="29"/>
                    <a:pt x="52" y="2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7" name="任意多边形: 形状 1596"/>
            <p:cNvSpPr/>
            <p:nvPr>
              <p:custDataLst>
                <p:tags r:id="rId189"/>
              </p:custDataLst>
            </p:nvPr>
          </p:nvSpPr>
          <p:spPr bwMode="auto">
            <a:xfrm flipH="1">
              <a:off x="3286798" y="4429435"/>
              <a:ext cx="44677" cy="42983"/>
            </a:xfrm>
            <a:custGeom>
              <a:avLst/>
              <a:gdLst>
                <a:gd name="T0" fmla="*/ 11 w 21"/>
                <a:gd name="T1" fmla="*/ 0 h 21"/>
                <a:gd name="T2" fmla="*/ 11 w 21"/>
                <a:gd name="T3" fmla="*/ 0 h 21"/>
                <a:gd name="T4" fmla="*/ 0 w 21"/>
                <a:gd name="T5" fmla="*/ 10 h 21"/>
                <a:gd name="T6" fmla="*/ 11 w 21"/>
                <a:gd name="T7" fmla="*/ 21 h 21"/>
                <a:gd name="T8" fmla="*/ 11 w 21"/>
                <a:gd name="T9" fmla="*/ 21 h 21"/>
                <a:gd name="T10" fmla="*/ 21 w 21"/>
                <a:gd name="T11" fmla="*/ 10 h 21"/>
                <a:gd name="T12" fmla="*/ 11 w 21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1"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1" y="4"/>
                    <a:pt x="0" y="10"/>
                  </a:cubicBezTo>
                  <a:cubicBezTo>
                    <a:pt x="0" y="16"/>
                    <a:pt x="5" y="20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6" y="21"/>
                    <a:pt x="21" y="16"/>
                    <a:pt x="21" y="10"/>
                  </a:cubicBezTo>
                  <a:cubicBezTo>
                    <a:pt x="21" y="5"/>
                    <a:pt x="17" y="0"/>
                    <a:pt x="11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8" name="任意多边形: 形状 1597"/>
            <p:cNvSpPr/>
            <p:nvPr>
              <p:custDataLst>
                <p:tags r:id="rId190"/>
              </p:custDataLst>
            </p:nvPr>
          </p:nvSpPr>
          <p:spPr bwMode="auto">
            <a:xfrm flipH="1">
              <a:off x="3239385" y="4384733"/>
              <a:ext cx="137679" cy="129809"/>
            </a:xfrm>
            <a:custGeom>
              <a:avLst/>
              <a:gdLst>
                <a:gd name="T0" fmla="*/ 33 w 64"/>
                <a:gd name="T1" fmla="*/ 0 h 64"/>
                <a:gd name="T2" fmla="*/ 32 w 64"/>
                <a:gd name="T3" fmla="*/ 0 h 64"/>
                <a:gd name="T4" fmla="*/ 32 w 64"/>
                <a:gd name="T5" fmla="*/ 11 h 64"/>
                <a:gd name="T6" fmla="*/ 32 w 64"/>
                <a:gd name="T7" fmla="*/ 11 h 64"/>
                <a:gd name="T8" fmla="*/ 53 w 64"/>
                <a:gd name="T9" fmla="*/ 33 h 64"/>
                <a:gd name="T10" fmla="*/ 53 w 64"/>
                <a:gd name="T11" fmla="*/ 33 h 64"/>
                <a:gd name="T12" fmla="*/ 32 w 64"/>
                <a:gd name="T13" fmla="*/ 53 h 64"/>
                <a:gd name="T14" fmla="*/ 32 w 64"/>
                <a:gd name="T15" fmla="*/ 53 h 64"/>
                <a:gd name="T16" fmla="*/ 32 w 64"/>
                <a:gd name="T17" fmla="*/ 64 h 64"/>
                <a:gd name="T18" fmla="*/ 32 w 64"/>
                <a:gd name="T19" fmla="*/ 64 h 64"/>
                <a:gd name="T20" fmla="*/ 64 w 64"/>
                <a:gd name="T21" fmla="*/ 33 h 64"/>
                <a:gd name="T22" fmla="*/ 33 w 64"/>
                <a:gd name="T23" fmla="*/ 0 h 64"/>
                <a:gd name="T24" fmla="*/ 32 w 64"/>
                <a:gd name="T25" fmla="*/ 0 h 64"/>
                <a:gd name="T26" fmla="*/ 32 w 64"/>
                <a:gd name="T27" fmla="*/ 0 h 64"/>
                <a:gd name="T28" fmla="*/ 0 w 64"/>
                <a:gd name="T29" fmla="*/ 31 h 64"/>
                <a:gd name="T30" fmla="*/ 31 w 64"/>
                <a:gd name="T31" fmla="*/ 64 h 64"/>
                <a:gd name="T32" fmla="*/ 32 w 64"/>
                <a:gd name="T33" fmla="*/ 64 h 64"/>
                <a:gd name="T34" fmla="*/ 32 w 64"/>
                <a:gd name="T35" fmla="*/ 53 h 64"/>
                <a:gd name="T36" fmla="*/ 31 w 64"/>
                <a:gd name="T37" fmla="*/ 53 h 64"/>
                <a:gd name="T38" fmla="*/ 11 w 64"/>
                <a:gd name="T39" fmla="*/ 32 h 64"/>
                <a:gd name="T40" fmla="*/ 32 w 64"/>
                <a:gd name="T41" fmla="*/ 11 h 64"/>
                <a:gd name="T42" fmla="*/ 32 w 64"/>
                <a:gd name="T43" fmla="*/ 11 h 64"/>
                <a:gd name="T44" fmla="*/ 32 w 64"/>
                <a:gd name="T4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64">
                  <a:moveTo>
                    <a:pt x="33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44" y="11"/>
                    <a:pt x="53" y="21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44"/>
                    <a:pt x="43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49" y="64"/>
                    <a:pt x="63" y="50"/>
                    <a:pt x="64" y="33"/>
                  </a:cubicBezTo>
                  <a:cubicBezTo>
                    <a:pt x="64" y="15"/>
                    <a:pt x="50" y="1"/>
                    <a:pt x="33" y="0"/>
                  </a:cubicBezTo>
                  <a:close/>
                  <a:moveTo>
                    <a:pt x="32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1" y="14"/>
                    <a:pt x="0" y="31"/>
                  </a:cubicBezTo>
                  <a:cubicBezTo>
                    <a:pt x="0" y="49"/>
                    <a:pt x="14" y="64"/>
                    <a:pt x="31" y="64"/>
                  </a:cubicBezTo>
                  <a:cubicBezTo>
                    <a:pt x="31" y="64"/>
                    <a:pt x="32" y="64"/>
                    <a:pt x="32" y="6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0" y="53"/>
                    <a:pt x="10" y="43"/>
                    <a:pt x="11" y="32"/>
                  </a:cubicBezTo>
                  <a:cubicBezTo>
                    <a:pt x="11" y="20"/>
                    <a:pt x="20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599" name="任意多边形: 形状 1598"/>
            <p:cNvSpPr/>
            <p:nvPr>
              <p:custDataLst>
                <p:tags r:id="rId191"/>
              </p:custDataLst>
            </p:nvPr>
          </p:nvSpPr>
          <p:spPr bwMode="auto">
            <a:xfrm flipH="1">
              <a:off x="3307768" y="4478436"/>
              <a:ext cx="123090" cy="109177"/>
            </a:xfrm>
            <a:custGeom>
              <a:avLst/>
              <a:gdLst>
                <a:gd name="T0" fmla="*/ 27 w 57"/>
                <a:gd name="T1" fmla="*/ 7 h 54"/>
                <a:gd name="T2" fmla="*/ 23 w 57"/>
                <a:gd name="T3" fmla="*/ 0 h 54"/>
                <a:gd name="T4" fmla="*/ 5 w 57"/>
                <a:gd name="T5" fmla="*/ 17 h 54"/>
                <a:gd name="T6" fmla="*/ 15 w 57"/>
                <a:gd name="T7" fmla="*/ 50 h 54"/>
                <a:gd name="T8" fmla="*/ 29 w 57"/>
                <a:gd name="T9" fmla="*/ 54 h 54"/>
                <a:gd name="T10" fmla="*/ 48 w 57"/>
                <a:gd name="T11" fmla="*/ 46 h 54"/>
                <a:gd name="T12" fmla="*/ 57 w 57"/>
                <a:gd name="T13" fmla="*/ 23 h 54"/>
                <a:gd name="T14" fmla="*/ 56 w 57"/>
                <a:gd name="T15" fmla="*/ 23 h 54"/>
                <a:gd name="T16" fmla="*/ 56 w 57"/>
                <a:gd name="T17" fmla="*/ 23 h 54"/>
                <a:gd name="T18" fmla="*/ 50 w 57"/>
                <a:gd name="T19" fmla="*/ 22 h 54"/>
                <a:gd name="T20" fmla="*/ 44 w 57"/>
                <a:gd name="T21" fmla="*/ 32 h 54"/>
                <a:gd name="T22" fmla="*/ 31 w 57"/>
                <a:gd name="T23" fmla="*/ 38 h 54"/>
                <a:gd name="T24" fmla="*/ 24 w 57"/>
                <a:gd name="T25" fmla="*/ 36 h 54"/>
                <a:gd name="T26" fmla="*/ 20 w 57"/>
                <a:gd name="T27" fmla="*/ 16 h 54"/>
                <a:gd name="T28" fmla="*/ 27 w 57"/>
                <a:gd name="T29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4">
                  <a:moveTo>
                    <a:pt x="27" y="7"/>
                  </a:moveTo>
                  <a:cubicBezTo>
                    <a:pt x="25" y="5"/>
                    <a:pt x="24" y="2"/>
                    <a:pt x="23" y="0"/>
                  </a:cubicBezTo>
                  <a:cubicBezTo>
                    <a:pt x="15" y="5"/>
                    <a:pt x="9" y="10"/>
                    <a:pt x="5" y="17"/>
                  </a:cubicBezTo>
                  <a:cubicBezTo>
                    <a:pt x="0" y="28"/>
                    <a:pt x="3" y="43"/>
                    <a:pt x="15" y="50"/>
                  </a:cubicBezTo>
                  <a:cubicBezTo>
                    <a:pt x="19" y="53"/>
                    <a:pt x="24" y="54"/>
                    <a:pt x="29" y="54"/>
                  </a:cubicBezTo>
                  <a:cubicBezTo>
                    <a:pt x="36" y="54"/>
                    <a:pt x="43" y="51"/>
                    <a:pt x="48" y="46"/>
                  </a:cubicBezTo>
                  <a:cubicBezTo>
                    <a:pt x="54" y="40"/>
                    <a:pt x="56" y="32"/>
                    <a:pt x="57" y="23"/>
                  </a:cubicBezTo>
                  <a:cubicBezTo>
                    <a:pt x="57" y="23"/>
                    <a:pt x="56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4" y="23"/>
                    <a:pt x="52" y="22"/>
                    <a:pt x="50" y="22"/>
                  </a:cubicBezTo>
                  <a:cubicBezTo>
                    <a:pt x="48" y="26"/>
                    <a:pt x="46" y="30"/>
                    <a:pt x="44" y="32"/>
                  </a:cubicBezTo>
                  <a:cubicBezTo>
                    <a:pt x="40" y="36"/>
                    <a:pt x="36" y="38"/>
                    <a:pt x="31" y="38"/>
                  </a:cubicBezTo>
                  <a:cubicBezTo>
                    <a:pt x="29" y="38"/>
                    <a:pt x="26" y="37"/>
                    <a:pt x="24" y="36"/>
                  </a:cubicBezTo>
                  <a:cubicBezTo>
                    <a:pt x="18" y="32"/>
                    <a:pt x="16" y="24"/>
                    <a:pt x="20" y="16"/>
                  </a:cubicBezTo>
                  <a:cubicBezTo>
                    <a:pt x="21" y="13"/>
                    <a:pt x="23" y="10"/>
                    <a:pt x="27" y="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0" name="任意多边形: 形状 1599"/>
            <p:cNvSpPr/>
            <p:nvPr>
              <p:custDataLst>
                <p:tags r:id="rId192"/>
              </p:custDataLst>
            </p:nvPr>
          </p:nvSpPr>
          <p:spPr bwMode="auto">
            <a:xfrm flipH="1">
              <a:off x="3178296" y="4472418"/>
              <a:ext cx="125825" cy="111756"/>
            </a:xfrm>
            <a:custGeom>
              <a:avLst/>
              <a:gdLst>
                <a:gd name="T0" fmla="*/ 45 w 58"/>
                <a:gd name="T1" fmla="*/ 49 h 55"/>
                <a:gd name="T2" fmla="*/ 51 w 58"/>
                <a:gd name="T3" fmla="*/ 16 h 55"/>
                <a:gd name="T4" fmla="*/ 33 w 58"/>
                <a:gd name="T5" fmla="*/ 0 h 55"/>
                <a:gd name="T6" fmla="*/ 30 w 58"/>
                <a:gd name="T7" fmla="*/ 7 h 55"/>
                <a:gd name="T8" fmla="*/ 37 w 58"/>
                <a:gd name="T9" fmla="*/ 16 h 55"/>
                <a:gd name="T10" fmla="*/ 34 w 58"/>
                <a:gd name="T11" fmla="*/ 36 h 55"/>
                <a:gd name="T12" fmla="*/ 26 w 58"/>
                <a:gd name="T13" fmla="*/ 39 h 55"/>
                <a:gd name="T14" fmla="*/ 15 w 58"/>
                <a:gd name="T15" fmla="*/ 34 h 55"/>
                <a:gd name="T16" fmla="*/ 7 w 58"/>
                <a:gd name="T17" fmla="*/ 24 h 55"/>
                <a:gd name="T18" fmla="*/ 0 w 58"/>
                <a:gd name="T19" fmla="*/ 26 h 55"/>
                <a:gd name="T20" fmla="*/ 3 w 58"/>
                <a:gd name="T21" fmla="*/ 37 h 55"/>
                <a:gd name="T22" fmla="*/ 5 w 58"/>
                <a:gd name="T23" fmla="*/ 39 h 55"/>
                <a:gd name="T24" fmla="*/ 11 w 58"/>
                <a:gd name="T25" fmla="*/ 48 h 55"/>
                <a:gd name="T26" fmla="*/ 29 w 58"/>
                <a:gd name="T27" fmla="*/ 55 h 55"/>
                <a:gd name="T28" fmla="*/ 45 w 58"/>
                <a:gd name="T29" fmla="*/ 4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5">
                  <a:moveTo>
                    <a:pt x="45" y="49"/>
                  </a:moveTo>
                  <a:cubicBezTo>
                    <a:pt x="56" y="41"/>
                    <a:pt x="58" y="26"/>
                    <a:pt x="51" y="16"/>
                  </a:cubicBezTo>
                  <a:cubicBezTo>
                    <a:pt x="47" y="9"/>
                    <a:pt x="41" y="4"/>
                    <a:pt x="33" y="0"/>
                  </a:cubicBezTo>
                  <a:cubicBezTo>
                    <a:pt x="32" y="3"/>
                    <a:pt x="31" y="5"/>
                    <a:pt x="30" y="7"/>
                  </a:cubicBezTo>
                  <a:cubicBezTo>
                    <a:pt x="33" y="10"/>
                    <a:pt x="35" y="13"/>
                    <a:pt x="37" y="16"/>
                  </a:cubicBezTo>
                  <a:cubicBezTo>
                    <a:pt x="41" y="23"/>
                    <a:pt x="40" y="31"/>
                    <a:pt x="34" y="36"/>
                  </a:cubicBezTo>
                  <a:cubicBezTo>
                    <a:pt x="32" y="38"/>
                    <a:pt x="29" y="39"/>
                    <a:pt x="26" y="39"/>
                  </a:cubicBezTo>
                  <a:cubicBezTo>
                    <a:pt x="22" y="39"/>
                    <a:pt x="18" y="37"/>
                    <a:pt x="15" y="34"/>
                  </a:cubicBezTo>
                  <a:cubicBezTo>
                    <a:pt x="12" y="32"/>
                    <a:pt x="9" y="28"/>
                    <a:pt x="7" y="24"/>
                  </a:cubicBezTo>
                  <a:cubicBezTo>
                    <a:pt x="5" y="25"/>
                    <a:pt x="3" y="25"/>
                    <a:pt x="0" y="26"/>
                  </a:cubicBezTo>
                  <a:cubicBezTo>
                    <a:pt x="1" y="30"/>
                    <a:pt x="2" y="33"/>
                    <a:pt x="3" y="37"/>
                  </a:cubicBezTo>
                  <a:cubicBezTo>
                    <a:pt x="4" y="38"/>
                    <a:pt x="4" y="38"/>
                    <a:pt x="5" y="39"/>
                  </a:cubicBezTo>
                  <a:cubicBezTo>
                    <a:pt x="6" y="43"/>
                    <a:pt x="8" y="45"/>
                    <a:pt x="11" y="48"/>
                  </a:cubicBezTo>
                  <a:cubicBezTo>
                    <a:pt x="16" y="52"/>
                    <a:pt x="22" y="55"/>
                    <a:pt x="29" y="55"/>
                  </a:cubicBezTo>
                  <a:cubicBezTo>
                    <a:pt x="34" y="55"/>
                    <a:pt x="40" y="53"/>
                    <a:pt x="45" y="4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1" name="任意多边形: 形状 1600"/>
            <p:cNvSpPr/>
            <p:nvPr>
              <p:custDataLst>
                <p:tags r:id="rId193"/>
              </p:custDataLst>
            </p:nvPr>
          </p:nvSpPr>
          <p:spPr bwMode="auto">
            <a:xfrm flipH="1">
              <a:off x="3359740" y="4370119"/>
              <a:ext cx="114884" cy="108317"/>
            </a:xfrm>
            <a:custGeom>
              <a:avLst/>
              <a:gdLst>
                <a:gd name="T0" fmla="*/ 18 w 53"/>
                <a:gd name="T1" fmla="*/ 50 h 53"/>
                <a:gd name="T2" fmla="*/ 31 w 53"/>
                <a:gd name="T3" fmla="*/ 53 h 53"/>
                <a:gd name="T4" fmla="*/ 43 w 53"/>
                <a:gd name="T5" fmla="*/ 51 h 53"/>
                <a:gd name="T6" fmla="*/ 41 w 53"/>
                <a:gd name="T7" fmla="*/ 44 h 53"/>
                <a:gd name="T8" fmla="*/ 29 w 53"/>
                <a:gd name="T9" fmla="*/ 41 h 53"/>
                <a:gd name="T10" fmla="*/ 20 w 53"/>
                <a:gd name="T11" fmla="*/ 24 h 53"/>
                <a:gd name="T12" fmla="*/ 35 w 53"/>
                <a:gd name="T13" fmla="*/ 13 h 53"/>
                <a:gd name="T14" fmla="*/ 37 w 53"/>
                <a:gd name="T15" fmla="*/ 14 h 53"/>
                <a:gd name="T16" fmla="*/ 48 w 53"/>
                <a:gd name="T17" fmla="*/ 17 h 53"/>
                <a:gd name="T18" fmla="*/ 53 w 53"/>
                <a:gd name="T19" fmla="*/ 12 h 53"/>
                <a:gd name="T20" fmla="*/ 31 w 53"/>
                <a:gd name="T21" fmla="*/ 0 h 53"/>
                <a:gd name="T22" fmla="*/ 28 w 53"/>
                <a:gd name="T23" fmla="*/ 0 h 53"/>
                <a:gd name="T24" fmla="*/ 3 w 53"/>
                <a:gd name="T25" fmla="*/ 19 h 53"/>
                <a:gd name="T26" fmla="*/ 18 w 53"/>
                <a:gd name="T27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53">
                  <a:moveTo>
                    <a:pt x="18" y="50"/>
                  </a:moveTo>
                  <a:cubicBezTo>
                    <a:pt x="22" y="52"/>
                    <a:pt x="26" y="53"/>
                    <a:pt x="31" y="53"/>
                  </a:cubicBezTo>
                  <a:cubicBezTo>
                    <a:pt x="35" y="53"/>
                    <a:pt x="39" y="52"/>
                    <a:pt x="43" y="51"/>
                  </a:cubicBezTo>
                  <a:cubicBezTo>
                    <a:pt x="42" y="49"/>
                    <a:pt x="41" y="47"/>
                    <a:pt x="41" y="44"/>
                  </a:cubicBezTo>
                  <a:cubicBezTo>
                    <a:pt x="36" y="44"/>
                    <a:pt x="32" y="43"/>
                    <a:pt x="29" y="41"/>
                  </a:cubicBezTo>
                  <a:cubicBezTo>
                    <a:pt x="22" y="38"/>
                    <a:pt x="18" y="31"/>
                    <a:pt x="20" y="24"/>
                  </a:cubicBezTo>
                  <a:cubicBezTo>
                    <a:pt x="22" y="17"/>
                    <a:pt x="28" y="13"/>
                    <a:pt x="35" y="13"/>
                  </a:cubicBezTo>
                  <a:cubicBezTo>
                    <a:pt x="35" y="13"/>
                    <a:pt x="36" y="13"/>
                    <a:pt x="37" y="14"/>
                  </a:cubicBezTo>
                  <a:cubicBezTo>
                    <a:pt x="40" y="14"/>
                    <a:pt x="44" y="15"/>
                    <a:pt x="48" y="17"/>
                  </a:cubicBezTo>
                  <a:cubicBezTo>
                    <a:pt x="49" y="15"/>
                    <a:pt x="51" y="13"/>
                    <a:pt x="53" y="12"/>
                  </a:cubicBezTo>
                  <a:cubicBezTo>
                    <a:pt x="46" y="6"/>
                    <a:pt x="39" y="1"/>
                    <a:pt x="31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17" y="0"/>
                    <a:pt x="6" y="8"/>
                    <a:pt x="3" y="19"/>
                  </a:cubicBezTo>
                  <a:cubicBezTo>
                    <a:pt x="0" y="32"/>
                    <a:pt x="7" y="45"/>
                    <a:pt x="18" y="5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2" name="任意多边形: 形状 1601"/>
            <p:cNvSpPr/>
            <p:nvPr>
              <p:custDataLst>
                <p:tags r:id="rId194"/>
              </p:custDataLst>
            </p:nvPr>
          </p:nvSpPr>
          <p:spPr bwMode="auto">
            <a:xfrm flipH="1">
              <a:off x="4011662" y="4285012"/>
              <a:ext cx="82060" cy="134107"/>
            </a:xfrm>
            <a:custGeom>
              <a:avLst/>
              <a:gdLst>
                <a:gd name="T0" fmla="*/ 38 w 38"/>
                <a:gd name="T1" fmla="*/ 33 h 66"/>
                <a:gd name="T2" fmla="*/ 19 w 38"/>
                <a:gd name="T3" fmla="*/ 0 h 66"/>
                <a:gd name="T4" fmla="*/ 0 w 38"/>
                <a:gd name="T5" fmla="*/ 33 h 66"/>
                <a:gd name="T6" fmla="*/ 19 w 38"/>
                <a:gd name="T7" fmla="*/ 66 h 66"/>
                <a:gd name="T8" fmla="*/ 38 w 38"/>
                <a:gd name="T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66">
                  <a:moveTo>
                    <a:pt x="38" y="33"/>
                  </a:moveTo>
                  <a:cubicBezTo>
                    <a:pt x="38" y="21"/>
                    <a:pt x="31" y="5"/>
                    <a:pt x="19" y="0"/>
                  </a:cubicBezTo>
                  <a:cubicBezTo>
                    <a:pt x="8" y="5"/>
                    <a:pt x="0" y="21"/>
                    <a:pt x="0" y="33"/>
                  </a:cubicBezTo>
                  <a:cubicBezTo>
                    <a:pt x="0" y="45"/>
                    <a:pt x="8" y="62"/>
                    <a:pt x="19" y="66"/>
                  </a:cubicBezTo>
                  <a:cubicBezTo>
                    <a:pt x="31" y="62"/>
                    <a:pt x="38" y="45"/>
                    <a:pt x="38" y="3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3" name="任意多边形: 形状 1602"/>
            <p:cNvSpPr/>
            <p:nvPr>
              <p:custDataLst>
                <p:tags r:id="rId195"/>
              </p:custDataLst>
            </p:nvPr>
          </p:nvSpPr>
          <p:spPr bwMode="auto">
            <a:xfrm flipH="1">
              <a:off x="3903160" y="4370119"/>
              <a:ext cx="132208" cy="99720"/>
            </a:xfrm>
            <a:custGeom>
              <a:avLst/>
              <a:gdLst>
                <a:gd name="T0" fmla="*/ 1 w 61"/>
                <a:gd name="T1" fmla="*/ 41 h 49"/>
                <a:gd name="T2" fmla="*/ 40 w 61"/>
                <a:gd name="T3" fmla="*/ 41 h 49"/>
                <a:gd name="T4" fmla="*/ 59 w 61"/>
                <a:gd name="T5" fmla="*/ 8 h 49"/>
                <a:gd name="T6" fmla="*/ 21 w 61"/>
                <a:gd name="T7" fmla="*/ 8 h 49"/>
                <a:gd name="T8" fmla="*/ 1 w 61"/>
                <a:gd name="T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9">
                  <a:moveTo>
                    <a:pt x="1" y="41"/>
                  </a:moveTo>
                  <a:cubicBezTo>
                    <a:pt x="11" y="49"/>
                    <a:pt x="30" y="47"/>
                    <a:pt x="40" y="41"/>
                  </a:cubicBezTo>
                  <a:cubicBezTo>
                    <a:pt x="50" y="35"/>
                    <a:pt x="61" y="21"/>
                    <a:pt x="59" y="8"/>
                  </a:cubicBezTo>
                  <a:cubicBezTo>
                    <a:pt x="50" y="0"/>
                    <a:pt x="31" y="2"/>
                    <a:pt x="21" y="8"/>
                  </a:cubicBezTo>
                  <a:cubicBezTo>
                    <a:pt x="11" y="14"/>
                    <a:pt x="0" y="28"/>
                    <a:pt x="1" y="4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4" name="任意多边形: 形状 1603"/>
            <p:cNvSpPr/>
            <p:nvPr>
              <p:custDataLst>
                <p:tags r:id="rId196"/>
              </p:custDataLst>
            </p:nvPr>
          </p:nvSpPr>
          <p:spPr bwMode="auto">
            <a:xfrm flipH="1">
              <a:off x="3903160" y="4469839"/>
              <a:ext cx="132208" cy="98001"/>
            </a:xfrm>
            <a:custGeom>
              <a:avLst/>
              <a:gdLst>
                <a:gd name="T0" fmla="*/ 40 w 61"/>
                <a:gd name="T1" fmla="*/ 40 h 48"/>
                <a:gd name="T2" fmla="*/ 59 w 61"/>
                <a:gd name="T3" fmla="*/ 8 h 48"/>
                <a:gd name="T4" fmla="*/ 21 w 61"/>
                <a:gd name="T5" fmla="*/ 7 h 48"/>
                <a:gd name="T6" fmla="*/ 1 w 61"/>
                <a:gd name="T7" fmla="*/ 40 h 48"/>
                <a:gd name="T8" fmla="*/ 40 w 61"/>
                <a:gd name="T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8">
                  <a:moveTo>
                    <a:pt x="40" y="40"/>
                  </a:moveTo>
                  <a:cubicBezTo>
                    <a:pt x="50" y="35"/>
                    <a:pt x="61" y="20"/>
                    <a:pt x="59" y="8"/>
                  </a:cubicBezTo>
                  <a:cubicBezTo>
                    <a:pt x="50" y="0"/>
                    <a:pt x="31" y="1"/>
                    <a:pt x="21" y="7"/>
                  </a:cubicBezTo>
                  <a:cubicBezTo>
                    <a:pt x="11" y="13"/>
                    <a:pt x="0" y="28"/>
                    <a:pt x="1" y="40"/>
                  </a:cubicBezTo>
                  <a:cubicBezTo>
                    <a:pt x="11" y="48"/>
                    <a:pt x="29" y="46"/>
                    <a:pt x="40" y="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5" name="任意多边形: 形状 1604"/>
            <p:cNvSpPr/>
            <p:nvPr>
              <p:custDataLst>
                <p:tags r:id="rId197"/>
              </p:custDataLst>
            </p:nvPr>
          </p:nvSpPr>
          <p:spPr bwMode="auto">
            <a:xfrm flipH="1">
              <a:off x="4067280" y="4370119"/>
              <a:ext cx="132208" cy="99720"/>
            </a:xfrm>
            <a:custGeom>
              <a:avLst/>
              <a:gdLst>
                <a:gd name="T0" fmla="*/ 21 w 61"/>
                <a:gd name="T1" fmla="*/ 41 h 49"/>
                <a:gd name="T2" fmla="*/ 59 w 61"/>
                <a:gd name="T3" fmla="*/ 41 h 49"/>
                <a:gd name="T4" fmla="*/ 39 w 61"/>
                <a:gd name="T5" fmla="*/ 8 h 49"/>
                <a:gd name="T6" fmla="*/ 1 w 61"/>
                <a:gd name="T7" fmla="*/ 8 h 49"/>
                <a:gd name="T8" fmla="*/ 21 w 61"/>
                <a:gd name="T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9">
                  <a:moveTo>
                    <a:pt x="21" y="41"/>
                  </a:moveTo>
                  <a:cubicBezTo>
                    <a:pt x="31" y="47"/>
                    <a:pt x="49" y="49"/>
                    <a:pt x="59" y="41"/>
                  </a:cubicBezTo>
                  <a:cubicBezTo>
                    <a:pt x="61" y="28"/>
                    <a:pt x="50" y="14"/>
                    <a:pt x="39" y="8"/>
                  </a:cubicBezTo>
                  <a:cubicBezTo>
                    <a:pt x="29" y="2"/>
                    <a:pt x="11" y="0"/>
                    <a:pt x="1" y="8"/>
                  </a:cubicBezTo>
                  <a:cubicBezTo>
                    <a:pt x="0" y="21"/>
                    <a:pt x="11" y="35"/>
                    <a:pt x="21" y="4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6" name="任意多边形: 形状 1605"/>
            <p:cNvSpPr/>
            <p:nvPr>
              <p:custDataLst>
                <p:tags r:id="rId198"/>
              </p:custDataLst>
            </p:nvPr>
          </p:nvSpPr>
          <p:spPr bwMode="auto">
            <a:xfrm flipH="1">
              <a:off x="4067280" y="4469839"/>
              <a:ext cx="132208" cy="98001"/>
            </a:xfrm>
            <a:custGeom>
              <a:avLst/>
              <a:gdLst>
                <a:gd name="T0" fmla="*/ 21 w 61"/>
                <a:gd name="T1" fmla="*/ 40 h 48"/>
                <a:gd name="T2" fmla="*/ 59 w 61"/>
                <a:gd name="T3" fmla="*/ 40 h 48"/>
                <a:gd name="T4" fmla="*/ 39 w 61"/>
                <a:gd name="T5" fmla="*/ 7 h 48"/>
                <a:gd name="T6" fmla="*/ 1 w 61"/>
                <a:gd name="T7" fmla="*/ 8 h 48"/>
                <a:gd name="T8" fmla="*/ 21 w 61"/>
                <a:gd name="T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8">
                  <a:moveTo>
                    <a:pt x="21" y="40"/>
                  </a:moveTo>
                  <a:cubicBezTo>
                    <a:pt x="31" y="46"/>
                    <a:pt x="49" y="48"/>
                    <a:pt x="59" y="40"/>
                  </a:cubicBezTo>
                  <a:cubicBezTo>
                    <a:pt x="61" y="28"/>
                    <a:pt x="50" y="13"/>
                    <a:pt x="39" y="7"/>
                  </a:cubicBezTo>
                  <a:cubicBezTo>
                    <a:pt x="29" y="1"/>
                    <a:pt x="11" y="0"/>
                    <a:pt x="1" y="8"/>
                  </a:cubicBezTo>
                  <a:cubicBezTo>
                    <a:pt x="0" y="20"/>
                    <a:pt x="11" y="35"/>
                    <a:pt x="21" y="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7" name="任意多边形: 形状 1606"/>
            <p:cNvSpPr/>
            <p:nvPr>
              <p:custDataLst>
                <p:tags r:id="rId199"/>
              </p:custDataLst>
            </p:nvPr>
          </p:nvSpPr>
          <p:spPr bwMode="auto">
            <a:xfrm flipH="1">
              <a:off x="4043574" y="4435453"/>
              <a:ext cx="15502" cy="156458"/>
            </a:xfrm>
            <a:custGeom>
              <a:avLst/>
              <a:gdLst>
                <a:gd name="T0" fmla="*/ 0 w 7"/>
                <a:gd name="T1" fmla="*/ 2 h 77"/>
                <a:gd name="T2" fmla="*/ 0 w 7"/>
                <a:gd name="T3" fmla="*/ 74 h 77"/>
                <a:gd name="T4" fmla="*/ 3 w 7"/>
                <a:gd name="T5" fmla="*/ 77 h 77"/>
                <a:gd name="T6" fmla="*/ 7 w 7"/>
                <a:gd name="T7" fmla="*/ 74 h 77"/>
                <a:gd name="T8" fmla="*/ 7 w 7"/>
                <a:gd name="T9" fmla="*/ 2 h 77"/>
                <a:gd name="T10" fmla="*/ 3 w 7"/>
                <a:gd name="T11" fmla="*/ 0 h 77"/>
                <a:gd name="T12" fmla="*/ 0 w 7"/>
                <a:gd name="T13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7">
                  <a:moveTo>
                    <a:pt x="0" y="2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76"/>
                    <a:pt x="1" y="77"/>
                    <a:pt x="3" y="77"/>
                  </a:cubicBezTo>
                  <a:cubicBezTo>
                    <a:pt x="5" y="77"/>
                    <a:pt x="7" y="76"/>
                    <a:pt x="7" y="7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8" name="任意多边形: 形状 1607"/>
            <p:cNvSpPr/>
            <p:nvPr>
              <p:custDataLst>
                <p:tags r:id="rId200"/>
              </p:custDataLst>
            </p:nvPr>
          </p:nvSpPr>
          <p:spPr bwMode="auto">
            <a:xfrm flipH="1">
              <a:off x="4430168" y="2986068"/>
              <a:ext cx="28265" cy="134107"/>
            </a:xfrm>
            <a:custGeom>
              <a:avLst/>
              <a:gdLst>
                <a:gd name="T0" fmla="*/ 13 w 13"/>
                <a:gd name="T1" fmla="*/ 1 h 66"/>
                <a:gd name="T2" fmla="*/ 7 w 13"/>
                <a:gd name="T3" fmla="*/ 0 h 66"/>
                <a:gd name="T4" fmla="*/ 7 w 13"/>
                <a:gd name="T5" fmla="*/ 0 h 66"/>
                <a:gd name="T6" fmla="*/ 0 w 13"/>
                <a:gd name="T7" fmla="*/ 2 h 66"/>
                <a:gd name="T8" fmla="*/ 0 w 13"/>
                <a:gd name="T9" fmla="*/ 66 h 66"/>
                <a:gd name="T10" fmla="*/ 13 w 13"/>
                <a:gd name="T11" fmla="*/ 66 h 66"/>
                <a:gd name="T12" fmla="*/ 13 w 13"/>
                <a:gd name="T13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6">
                  <a:moveTo>
                    <a:pt x="13" y="1"/>
                  </a:moveTo>
                  <a:cubicBezTo>
                    <a:pt x="11" y="1"/>
                    <a:pt x="9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2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3" y="66"/>
                    <a:pt x="13" y="66"/>
                    <a:pt x="13" y="66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09" name="任意多边形: 形状 1608"/>
            <p:cNvSpPr/>
            <p:nvPr>
              <p:custDataLst>
                <p:tags r:id="rId201"/>
              </p:custDataLst>
            </p:nvPr>
          </p:nvSpPr>
          <p:spPr bwMode="auto">
            <a:xfrm flipH="1">
              <a:off x="4430168" y="2798663"/>
              <a:ext cx="28265" cy="18053"/>
            </a:xfrm>
            <a:custGeom>
              <a:avLst/>
              <a:gdLst>
                <a:gd name="T0" fmla="*/ 8 w 13"/>
                <a:gd name="T1" fmla="*/ 9 h 9"/>
                <a:gd name="T2" fmla="*/ 9 w 13"/>
                <a:gd name="T3" fmla="*/ 9 h 9"/>
                <a:gd name="T4" fmla="*/ 13 w 13"/>
                <a:gd name="T5" fmla="*/ 9 h 9"/>
                <a:gd name="T6" fmla="*/ 13 w 13"/>
                <a:gd name="T7" fmla="*/ 0 h 9"/>
                <a:gd name="T8" fmla="*/ 0 w 13"/>
                <a:gd name="T9" fmla="*/ 0 h 9"/>
                <a:gd name="T10" fmla="*/ 0 w 13"/>
                <a:gd name="T11" fmla="*/ 9 h 9"/>
                <a:gd name="T12" fmla="*/ 8 w 1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9">
                  <a:moveTo>
                    <a:pt x="8" y="9"/>
                  </a:moveTo>
                  <a:cubicBezTo>
                    <a:pt x="8" y="9"/>
                    <a:pt x="9" y="9"/>
                    <a:pt x="9" y="9"/>
                  </a:cubicBezTo>
                  <a:cubicBezTo>
                    <a:pt x="10" y="9"/>
                    <a:pt x="12" y="9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0" name="任意多边形: 形状 1609"/>
            <p:cNvSpPr/>
            <p:nvPr>
              <p:custDataLst>
                <p:tags r:id="rId202"/>
              </p:custDataLst>
            </p:nvPr>
          </p:nvSpPr>
          <p:spPr bwMode="auto">
            <a:xfrm flipH="1">
              <a:off x="4307078" y="2825313"/>
              <a:ext cx="267151" cy="186546"/>
            </a:xfrm>
            <a:custGeom>
              <a:avLst/>
              <a:gdLst>
                <a:gd name="T0" fmla="*/ 67 w 124"/>
                <a:gd name="T1" fmla="*/ 0 h 92"/>
                <a:gd name="T2" fmla="*/ 63 w 124"/>
                <a:gd name="T3" fmla="*/ 0 h 92"/>
                <a:gd name="T4" fmla="*/ 62 w 124"/>
                <a:gd name="T5" fmla="*/ 0 h 92"/>
                <a:gd name="T6" fmla="*/ 54 w 124"/>
                <a:gd name="T7" fmla="*/ 1 h 92"/>
                <a:gd name="T8" fmla="*/ 0 w 124"/>
                <a:gd name="T9" fmla="*/ 60 h 92"/>
                <a:gd name="T10" fmla="*/ 4 w 124"/>
                <a:gd name="T11" fmla="*/ 84 h 92"/>
                <a:gd name="T12" fmla="*/ 6 w 124"/>
                <a:gd name="T13" fmla="*/ 87 h 92"/>
                <a:gd name="T14" fmla="*/ 9 w 124"/>
                <a:gd name="T15" fmla="*/ 83 h 92"/>
                <a:gd name="T16" fmla="*/ 25 w 124"/>
                <a:gd name="T17" fmla="*/ 74 h 92"/>
                <a:gd name="T18" fmla="*/ 25 w 124"/>
                <a:gd name="T19" fmla="*/ 74 h 92"/>
                <a:gd name="T20" fmla="*/ 41 w 124"/>
                <a:gd name="T21" fmla="*/ 84 h 92"/>
                <a:gd name="T22" fmla="*/ 43 w 124"/>
                <a:gd name="T23" fmla="*/ 87 h 92"/>
                <a:gd name="T24" fmla="*/ 45 w 124"/>
                <a:gd name="T25" fmla="*/ 84 h 92"/>
                <a:gd name="T26" fmla="*/ 54 w 124"/>
                <a:gd name="T27" fmla="*/ 76 h 92"/>
                <a:gd name="T28" fmla="*/ 61 w 124"/>
                <a:gd name="T29" fmla="*/ 75 h 92"/>
                <a:gd name="T30" fmla="*/ 61 w 124"/>
                <a:gd name="T31" fmla="*/ 75 h 92"/>
                <a:gd name="T32" fmla="*/ 67 w 124"/>
                <a:gd name="T33" fmla="*/ 76 h 92"/>
                <a:gd name="T34" fmla="*/ 77 w 124"/>
                <a:gd name="T35" fmla="*/ 85 h 92"/>
                <a:gd name="T36" fmla="*/ 79 w 124"/>
                <a:gd name="T37" fmla="*/ 88 h 92"/>
                <a:gd name="T38" fmla="*/ 81 w 124"/>
                <a:gd name="T39" fmla="*/ 85 h 92"/>
                <a:gd name="T40" fmla="*/ 96 w 124"/>
                <a:gd name="T41" fmla="*/ 75 h 92"/>
                <a:gd name="T42" fmla="*/ 97 w 124"/>
                <a:gd name="T43" fmla="*/ 75 h 92"/>
                <a:gd name="T44" fmla="*/ 112 w 124"/>
                <a:gd name="T45" fmla="*/ 86 h 92"/>
                <a:gd name="T46" fmla="*/ 114 w 124"/>
                <a:gd name="T47" fmla="*/ 90 h 92"/>
                <a:gd name="T48" fmla="*/ 115 w 124"/>
                <a:gd name="T49" fmla="*/ 92 h 92"/>
                <a:gd name="T50" fmla="*/ 116 w 124"/>
                <a:gd name="T51" fmla="*/ 90 h 92"/>
                <a:gd name="T52" fmla="*/ 118 w 124"/>
                <a:gd name="T53" fmla="*/ 87 h 92"/>
                <a:gd name="T54" fmla="*/ 123 w 124"/>
                <a:gd name="T55" fmla="*/ 63 h 92"/>
                <a:gd name="T56" fmla="*/ 67 w 124"/>
                <a:gd name="T5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4" h="92">
                  <a:moveTo>
                    <a:pt x="67" y="0"/>
                  </a:moveTo>
                  <a:cubicBezTo>
                    <a:pt x="66" y="0"/>
                    <a:pt x="64" y="0"/>
                    <a:pt x="6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9" y="0"/>
                    <a:pt x="56" y="0"/>
                    <a:pt x="54" y="1"/>
                  </a:cubicBezTo>
                  <a:cubicBezTo>
                    <a:pt x="24" y="4"/>
                    <a:pt x="1" y="29"/>
                    <a:pt x="0" y="60"/>
                  </a:cubicBezTo>
                  <a:cubicBezTo>
                    <a:pt x="0" y="69"/>
                    <a:pt x="1" y="76"/>
                    <a:pt x="4" y="84"/>
                  </a:cubicBezTo>
                  <a:cubicBezTo>
                    <a:pt x="4" y="86"/>
                    <a:pt x="5" y="87"/>
                    <a:pt x="6" y="87"/>
                  </a:cubicBezTo>
                  <a:cubicBezTo>
                    <a:pt x="7" y="87"/>
                    <a:pt x="8" y="85"/>
                    <a:pt x="9" y="83"/>
                  </a:cubicBezTo>
                  <a:cubicBezTo>
                    <a:pt x="12" y="78"/>
                    <a:pt x="18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32" y="74"/>
                    <a:pt x="38" y="78"/>
                    <a:pt x="41" y="84"/>
                  </a:cubicBezTo>
                  <a:cubicBezTo>
                    <a:pt x="42" y="86"/>
                    <a:pt x="42" y="87"/>
                    <a:pt x="43" y="87"/>
                  </a:cubicBezTo>
                  <a:cubicBezTo>
                    <a:pt x="43" y="87"/>
                    <a:pt x="44" y="86"/>
                    <a:pt x="45" y="84"/>
                  </a:cubicBezTo>
                  <a:cubicBezTo>
                    <a:pt x="47" y="80"/>
                    <a:pt x="50" y="77"/>
                    <a:pt x="54" y="76"/>
                  </a:cubicBezTo>
                  <a:cubicBezTo>
                    <a:pt x="56" y="75"/>
                    <a:pt x="58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3" y="75"/>
                    <a:pt x="65" y="75"/>
                    <a:pt x="67" y="76"/>
                  </a:cubicBezTo>
                  <a:cubicBezTo>
                    <a:pt x="71" y="77"/>
                    <a:pt x="75" y="81"/>
                    <a:pt x="77" y="85"/>
                  </a:cubicBezTo>
                  <a:cubicBezTo>
                    <a:pt x="78" y="87"/>
                    <a:pt x="78" y="88"/>
                    <a:pt x="79" y="88"/>
                  </a:cubicBezTo>
                  <a:cubicBezTo>
                    <a:pt x="79" y="88"/>
                    <a:pt x="80" y="87"/>
                    <a:pt x="81" y="85"/>
                  </a:cubicBezTo>
                  <a:cubicBezTo>
                    <a:pt x="84" y="79"/>
                    <a:pt x="89" y="75"/>
                    <a:pt x="96" y="75"/>
                  </a:cubicBezTo>
                  <a:cubicBezTo>
                    <a:pt x="96" y="75"/>
                    <a:pt x="97" y="75"/>
                    <a:pt x="97" y="75"/>
                  </a:cubicBezTo>
                  <a:cubicBezTo>
                    <a:pt x="104" y="76"/>
                    <a:pt x="110" y="80"/>
                    <a:pt x="112" y="86"/>
                  </a:cubicBezTo>
                  <a:cubicBezTo>
                    <a:pt x="113" y="87"/>
                    <a:pt x="113" y="89"/>
                    <a:pt x="114" y="90"/>
                  </a:cubicBezTo>
                  <a:cubicBezTo>
                    <a:pt x="114" y="91"/>
                    <a:pt x="114" y="92"/>
                    <a:pt x="115" y="92"/>
                  </a:cubicBezTo>
                  <a:cubicBezTo>
                    <a:pt x="115" y="92"/>
                    <a:pt x="116" y="91"/>
                    <a:pt x="116" y="90"/>
                  </a:cubicBezTo>
                  <a:cubicBezTo>
                    <a:pt x="117" y="89"/>
                    <a:pt x="117" y="88"/>
                    <a:pt x="118" y="87"/>
                  </a:cubicBezTo>
                  <a:cubicBezTo>
                    <a:pt x="121" y="79"/>
                    <a:pt x="123" y="72"/>
                    <a:pt x="123" y="63"/>
                  </a:cubicBezTo>
                  <a:cubicBezTo>
                    <a:pt x="124" y="31"/>
                    <a:pt x="99" y="3"/>
                    <a:pt x="67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1" name="任意多边形: 形状 1610"/>
            <p:cNvSpPr/>
            <p:nvPr>
              <p:custDataLst>
                <p:tags r:id="rId203"/>
              </p:custDataLst>
            </p:nvPr>
          </p:nvSpPr>
          <p:spPr bwMode="auto">
            <a:xfrm flipH="1">
              <a:off x="1507005" y="5472201"/>
              <a:ext cx="103031" cy="71352"/>
            </a:xfrm>
            <a:custGeom>
              <a:avLst/>
              <a:gdLst>
                <a:gd name="T0" fmla="*/ 31 w 48"/>
                <a:gd name="T1" fmla="*/ 11 h 35"/>
                <a:gd name="T2" fmla="*/ 42 w 48"/>
                <a:gd name="T3" fmla="*/ 3 h 35"/>
                <a:gd name="T4" fmla="*/ 48 w 48"/>
                <a:gd name="T5" fmla="*/ 1 h 35"/>
                <a:gd name="T6" fmla="*/ 28 w 48"/>
                <a:gd name="T7" fmla="*/ 3 h 35"/>
                <a:gd name="T8" fmla="*/ 15 w 48"/>
                <a:gd name="T9" fmla="*/ 13 h 35"/>
                <a:gd name="T10" fmla="*/ 10 w 48"/>
                <a:gd name="T11" fmla="*/ 23 h 35"/>
                <a:gd name="T12" fmla="*/ 0 w 48"/>
                <a:gd name="T13" fmla="*/ 35 h 35"/>
                <a:gd name="T14" fmla="*/ 16 w 48"/>
                <a:gd name="T15" fmla="*/ 28 h 35"/>
                <a:gd name="T16" fmla="*/ 31 w 48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35">
                  <a:moveTo>
                    <a:pt x="31" y="11"/>
                  </a:moveTo>
                  <a:cubicBezTo>
                    <a:pt x="34" y="7"/>
                    <a:pt x="38" y="5"/>
                    <a:pt x="42" y="3"/>
                  </a:cubicBezTo>
                  <a:cubicBezTo>
                    <a:pt x="43" y="3"/>
                    <a:pt x="46" y="1"/>
                    <a:pt x="48" y="1"/>
                  </a:cubicBezTo>
                  <a:cubicBezTo>
                    <a:pt x="41" y="1"/>
                    <a:pt x="34" y="0"/>
                    <a:pt x="28" y="3"/>
                  </a:cubicBezTo>
                  <a:cubicBezTo>
                    <a:pt x="23" y="5"/>
                    <a:pt x="19" y="9"/>
                    <a:pt x="15" y="13"/>
                  </a:cubicBezTo>
                  <a:cubicBezTo>
                    <a:pt x="13" y="16"/>
                    <a:pt x="11" y="20"/>
                    <a:pt x="10" y="23"/>
                  </a:cubicBezTo>
                  <a:cubicBezTo>
                    <a:pt x="7" y="27"/>
                    <a:pt x="5" y="33"/>
                    <a:pt x="0" y="35"/>
                  </a:cubicBezTo>
                  <a:cubicBezTo>
                    <a:pt x="6" y="34"/>
                    <a:pt x="12" y="31"/>
                    <a:pt x="16" y="28"/>
                  </a:cubicBezTo>
                  <a:cubicBezTo>
                    <a:pt x="22" y="23"/>
                    <a:pt x="26" y="16"/>
                    <a:pt x="31" y="1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2" name="任意多边形: 形状 1611"/>
            <p:cNvSpPr/>
            <p:nvPr>
              <p:custDataLst>
                <p:tags r:id="rId204"/>
              </p:custDataLst>
            </p:nvPr>
          </p:nvSpPr>
          <p:spPr bwMode="auto">
            <a:xfrm flipH="1">
              <a:off x="1467799" y="5474780"/>
              <a:ext cx="135855" cy="86826"/>
            </a:xfrm>
            <a:custGeom>
              <a:avLst/>
              <a:gdLst>
                <a:gd name="T0" fmla="*/ 41 w 63"/>
                <a:gd name="T1" fmla="*/ 5 h 43"/>
                <a:gd name="T2" fmla="*/ 26 w 63"/>
                <a:gd name="T3" fmla="*/ 19 h 43"/>
                <a:gd name="T4" fmla="*/ 14 w 63"/>
                <a:gd name="T5" fmla="*/ 31 h 43"/>
                <a:gd name="T6" fmla="*/ 0 w 63"/>
                <a:gd name="T7" fmla="*/ 36 h 43"/>
                <a:gd name="T8" fmla="*/ 35 w 63"/>
                <a:gd name="T9" fmla="*/ 36 h 43"/>
                <a:gd name="T10" fmla="*/ 53 w 63"/>
                <a:gd name="T11" fmla="*/ 11 h 43"/>
                <a:gd name="T12" fmla="*/ 60 w 63"/>
                <a:gd name="T13" fmla="*/ 3 h 43"/>
                <a:gd name="T14" fmla="*/ 63 w 63"/>
                <a:gd name="T15" fmla="*/ 1 h 43"/>
                <a:gd name="T16" fmla="*/ 41 w 63"/>
                <a:gd name="T17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3">
                  <a:moveTo>
                    <a:pt x="41" y="5"/>
                  </a:moveTo>
                  <a:cubicBezTo>
                    <a:pt x="34" y="8"/>
                    <a:pt x="30" y="13"/>
                    <a:pt x="26" y="19"/>
                  </a:cubicBezTo>
                  <a:cubicBezTo>
                    <a:pt x="22" y="23"/>
                    <a:pt x="18" y="28"/>
                    <a:pt x="14" y="31"/>
                  </a:cubicBezTo>
                  <a:cubicBezTo>
                    <a:pt x="10" y="33"/>
                    <a:pt x="5" y="36"/>
                    <a:pt x="0" y="36"/>
                  </a:cubicBezTo>
                  <a:cubicBezTo>
                    <a:pt x="11" y="43"/>
                    <a:pt x="24" y="42"/>
                    <a:pt x="35" y="36"/>
                  </a:cubicBezTo>
                  <a:cubicBezTo>
                    <a:pt x="44" y="30"/>
                    <a:pt x="48" y="20"/>
                    <a:pt x="53" y="11"/>
                  </a:cubicBezTo>
                  <a:cubicBezTo>
                    <a:pt x="55" y="8"/>
                    <a:pt x="57" y="6"/>
                    <a:pt x="60" y="3"/>
                  </a:cubicBezTo>
                  <a:cubicBezTo>
                    <a:pt x="60" y="3"/>
                    <a:pt x="62" y="1"/>
                    <a:pt x="63" y="1"/>
                  </a:cubicBezTo>
                  <a:cubicBezTo>
                    <a:pt x="56" y="0"/>
                    <a:pt x="48" y="1"/>
                    <a:pt x="41" y="5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3" name="任意多边形: 形状 1612"/>
            <p:cNvSpPr/>
            <p:nvPr>
              <p:custDataLst>
                <p:tags r:id="rId205"/>
              </p:custDataLst>
            </p:nvPr>
          </p:nvSpPr>
          <p:spPr bwMode="auto">
            <a:xfrm flipH="1">
              <a:off x="1521594" y="5401709"/>
              <a:ext cx="88443" cy="58457"/>
            </a:xfrm>
            <a:custGeom>
              <a:avLst/>
              <a:gdLst>
                <a:gd name="T0" fmla="*/ 13 w 41"/>
                <a:gd name="T1" fmla="*/ 11 h 29"/>
                <a:gd name="T2" fmla="*/ 8 w 41"/>
                <a:gd name="T3" fmla="*/ 19 h 29"/>
                <a:gd name="T4" fmla="*/ 0 w 41"/>
                <a:gd name="T5" fmla="*/ 29 h 29"/>
                <a:gd name="T6" fmla="*/ 14 w 41"/>
                <a:gd name="T7" fmla="*/ 23 h 29"/>
                <a:gd name="T8" fmla="*/ 27 w 41"/>
                <a:gd name="T9" fmla="*/ 9 h 29"/>
                <a:gd name="T10" fmla="*/ 36 w 41"/>
                <a:gd name="T11" fmla="*/ 2 h 29"/>
                <a:gd name="T12" fmla="*/ 41 w 41"/>
                <a:gd name="T13" fmla="*/ 1 h 29"/>
                <a:gd name="T14" fmla="*/ 24 w 41"/>
                <a:gd name="T15" fmla="*/ 2 h 29"/>
                <a:gd name="T16" fmla="*/ 13 w 41"/>
                <a:gd name="T17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29">
                  <a:moveTo>
                    <a:pt x="13" y="11"/>
                  </a:moveTo>
                  <a:cubicBezTo>
                    <a:pt x="11" y="14"/>
                    <a:pt x="10" y="16"/>
                    <a:pt x="8" y="19"/>
                  </a:cubicBezTo>
                  <a:cubicBezTo>
                    <a:pt x="7" y="23"/>
                    <a:pt x="4" y="28"/>
                    <a:pt x="0" y="29"/>
                  </a:cubicBezTo>
                  <a:cubicBezTo>
                    <a:pt x="5" y="29"/>
                    <a:pt x="10" y="26"/>
                    <a:pt x="14" y="23"/>
                  </a:cubicBezTo>
                  <a:cubicBezTo>
                    <a:pt x="19" y="19"/>
                    <a:pt x="22" y="13"/>
                    <a:pt x="27" y="9"/>
                  </a:cubicBezTo>
                  <a:cubicBezTo>
                    <a:pt x="29" y="6"/>
                    <a:pt x="33" y="4"/>
                    <a:pt x="36" y="2"/>
                  </a:cubicBezTo>
                  <a:cubicBezTo>
                    <a:pt x="37" y="2"/>
                    <a:pt x="40" y="0"/>
                    <a:pt x="41" y="1"/>
                  </a:cubicBezTo>
                  <a:cubicBezTo>
                    <a:pt x="36" y="0"/>
                    <a:pt x="30" y="0"/>
                    <a:pt x="24" y="2"/>
                  </a:cubicBezTo>
                  <a:cubicBezTo>
                    <a:pt x="20" y="4"/>
                    <a:pt x="16" y="7"/>
                    <a:pt x="13" y="1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4" name="任意多边形: 形状 1613"/>
            <p:cNvSpPr/>
            <p:nvPr>
              <p:custDataLst>
                <p:tags r:id="rId206"/>
              </p:custDataLst>
            </p:nvPr>
          </p:nvSpPr>
          <p:spPr bwMode="auto">
            <a:xfrm flipH="1">
              <a:off x="1486946" y="5403428"/>
              <a:ext cx="116708" cy="73071"/>
            </a:xfrm>
            <a:custGeom>
              <a:avLst/>
              <a:gdLst>
                <a:gd name="T0" fmla="*/ 51 w 54"/>
                <a:gd name="T1" fmla="*/ 2 h 36"/>
                <a:gd name="T2" fmla="*/ 54 w 54"/>
                <a:gd name="T3" fmla="*/ 0 h 36"/>
                <a:gd name="T4" fmla="*/ 35 w 54"/>
                <a:gd name="T5" fmla="*/ 4 h 36"/>
                <a:gd name="T6" fmla="*/ 22 w 54"/>
                <a:gd name="T7" fmla="*/ 15 h 36"/>
                <a:gd name="T8" fmla="*/ 12 w 54"/>
                <a:gd name="T9" fmla="*/ 26 h 36"/>
                <a:gd name="T10" fmla="*/ 0 w 54"/>
                <a:gd name="T11" fmla="*/ 30 h 36"/>
                <a:gd name="T12" fmla="*/ 30 w 54"/>
                <a:gd name="T13" fmla="*/ 30 h 36"/>
                <a:gd name="T14" fmla="*/ 46 w 54"/>
                <a:gd name="T15" fmla="*/ 9 h 36"/>
                <a:gd name="T16" fmla="*/ 51 w 54"/>
                <a:gd name="T17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6">
                  <a:moveTo>
                    <a:pt x="51" y="2"/>
                  </a:moveTo>
                  <a:cubicBezTo>
                    <a:pt x="52" y="2"/>
                    <a:pt x="53" y="0"/>
                    <a:pt x="54" y="0"/>
                  </a:cubicBezTo>
                  <a:cubicBezTo>
                    <a:pt x="48" y="0"/>
                    <a:pt x="41" y="0"/>
                    <a:pt x="35" y="4"/>
                  </a:cubicBezTo>
                  <a:cubicBezTo>
                    <a:pt x="29" y="7"/>
                    <a:pt x="26" y="10"/>
                    <a:pt x="22" y="15"/>
                  </a:cubicBezTo>
                  <a:cubicBezTo>
                    <a:pt x="19" y="19"/>
                    <a:pt x="16" y="23"/>
                    <a:pt x="12" y="26"/>
                  </a:cubicBezTo>
                  <a:cubicBezTo>
                    <a:pt x="9" y="28"/>
                    <a:pt x="4" y="30"/>
                    <a:pt x="0" y="30"/>
                  </a:cubicBezTo>
                  <a:cubicBezTo>
                    <a:pt x="9" y="36"/>
                    <a:pt x="21" y="36"/>
                    <a:pt x="30" y="30"/>
                  </a:cubicBezTo>
                  <a:cubicBezTo>
                    <a:pt x="38" y="25"/>
                    <a:pt x="41" y="17"/>
                    <a:pt x="46" y="9"/>
                  </a:cubicBezTo>
                  <a:cubicBezTo>
                    <a:pt x="47" y="7"/>
                    <a:pt x="49" y="4"/>
                    <a:pt x="51" y="2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5" name="任意多边形: 形状 1614"/>
            <p:cNvSpPr/>
            <p:nvPr>
              <p:custDataLst>
                <p:tags r:id="rId207"/>
              </p:custDataLst>
            </p:nvPr>
          </p:nvSpPr>
          <p:spPr bwMode="auto">
            <a:xfrm flipH="1">
              <a:off x="1620978" y="5472201"/>
              <a:ext cx="103943" cy="71352"/>
            </a:xfrm>
            <a:custGeom>
              <a:avLst/>
              <a:gdLst>
                <a:gd name="T0" fmla="*/ 17 w 48"/>
                <a:gd name="T1" fmla="*/ 11 h 35"/>
                <a:gd name="T2" fmla="*/ 32 w 48"/>
                <a:gd name="T3" fmla="*/ 28 h 35"/>
                <a:gd name="T4" fmla="*/ 48 w 48"/>
                <a:gd name="T5" fmla="*/ 35 h 35"/>
                <a:gd name="T6" fmla="*/ 38 w 48"/>
                <a:gd name="T7" fmla="*/ 23 h 35"/>
                <a:gd name="T8" fmla="*/ 33 w 48"/>
                <a:gd name="T9" fmla="*/ 13 h 35"/>
                <a:gd name="T10" fmla="*/ 20 w 48"/>
                <a:gd name="T11" fmla="*/ 3 h 35"/>
                <a:gd name="T12" fmla="*/ 0 w 48"/>
                <a:gd name="T13" fmla="*/ 1 h 35"/>
                <a:gd name="T14" fmla="*/ 6 w 48"/>
                <a:gd name="T15" fmla="*/ 3 h 35"/>
                <a:gd name="T16" fmla="*/ 17 w 48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35">
                  <a:moveTo>
                    <a:pt x="17" y="11"/>
                  </a:moveTo>
                  <a:cubicBezTo>
                    <a:pt x="22" y="16"/>
                    <a:pt x="26" y="23"/>
                    <a:pt x="32" y="28"/>
                  </a:cubicBezTo>
                  <a:cubicBezTo>
                    <a:pt x="36" y="31"/>
                    <a:pt x="42" y="34"/>
                    <a:pt x="48" y="35"/>
                  </a:cubicBezTo>
                  <a:cubicBezTo>
                    <a:pt x="44" y="33"/>
                    <a:pt x="41" y="27"/>
                    <a:pt x="38" y="23"/>
                  </a:cubicBezTo>
                  <a:cubicBezTo>
                    <a:pt x="37" y="20"/>
                    <a:pt x="35" y="16"/>
                    <a:pt x="33" y="13"/>
                  </a:cubicBezTo>
                  <a:cubicBezTo>
                    <a:pt x="30" y="9"/>
                    <a:pt x="25" y="5"/>
                    <a:pt x="20" y="3"/>
                  </a:cubicBezTo>
                  <a:cubicBezTo>
                    <a:pt x="14" y="0"/>
                    <a:pt x="7" y="1"/>
                    <a:pt x="0" y="1"/>
                  </a:cubicBezTo>
                  <a:cubicBezTo>
                    <a:pt x="2" y="1"/>
                    <a:pt x="5" y="3"/>
                    <a:pt x="6" y="3"/>
                  </a:cubicBezTo>
                  <a:cubicBezTo>
                    <a:pt x="10" y="5"/>
                    <a:pt x="14" y="7"/>
                    <a:pt x="17" y="1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6" name="任意多边形: 形状 1615"/>
            <p:cNvSpPr/>
            <p:nvPr>
              <p:custDataLst>
                <p:tags r:id="rId208"/>
              </p:custDataLst>
            </p:nvPr>
          </p:nvSpPr>
          <p:spPr bwMode="auto">
            <a:xfrm flipH="1">
              <a:off x="1627360" y="5474780"/>
              <a:ext cx="135855" cy="86826"/>
            </a:xfrm>
            <a:custGeom>
              <a:avLst/>
              <a:gdLst>
                <a:gd name="T0" fmla="*/ 10 w 63"/>
                <a:gd name="T1" fmla="*/ 11 h 43"/>
                <a:gd name="T2" fmla="*/ 28 w 63"/>
                <a:gd name="T3" fmla="*/ 36 h 43"/>
                <a:gd name="T4" fmla="*/ 63 w 63"/>
                <a:gd name="T5" fmla="*/ 36 h 43"/>
                <a:gd name="T6" fmla="*/ 49 w 63"/>
                <a:gd name="T7" fmla="*/ 31 h 43"/>
                <a:gd name="T8" fmla="*/ 37 w 63"/>
                <a:gd name="T9" fmla="*/ 19 h 43"/>
                <a:gd name="T10" fmla="*/ 22 w 63"/>
                <a:gd name="T11" fmla="*/ 5 h 43"/>
                <a:gd name="T12" fmla="*/ 0 w 63"/>
                <a:gd name="T13" fmla="*/ 1 h 43"/>
                <a:gd name="T14" fmla="*/ 3 w 63"/>
                <a:gd name="T15" fmla="*/ 3 h 43"/>
                <a:gd name="T16" fmla="*/ 10 w 63"/>
                <a:gd name="T17" fmla="*/ 1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3">
                  <a:moveTo>
                    <a:pt x="10" y="11"/>
                  </a:moveTo>
                  <a:cubicBezTo>
                    <a:pt x="15" y="20"/>
                    <a:pt x="19" y="30"/>
                    <a:pt x="28" y="36"/>
                  </a:cubicBezTo>
                  <a:cubicBezTo>
                    <a:pt x="39" y="42"/>
                    <a:pt x="52" y="43"/>
                    <a:pt x="63" y="36"/>
                  </a:cubicBezTo>
                  <a:cubicBezTo>
                    <a:pt x="58" y="36"/>
                    <a:pt x="53" y="33"/>
                    <a:pt x="49" y="31"/>
                  </a:cubicBezTo>
                  <a:cubicBezTo>
                    <a:pt x="45" y="28"/>
                    <a:pt x="41" y="23"/>
                    <a:pt x="37" y="19"/>
                  </a:cubicBezTo>
                  <a:cubicBezTo>
                    <a:pt x="33" y="13"/>
                    <a:pt x="29" y="8"/>
                    <a:pt x="22" y="5"/>
                  </a:cubicBezTo>
                  <a:cubicBezTo>
                    <a:pt x="15" y="1"/>
                    <a:pt x="7" y="0"/>
                    <a:pt x="0" y="1"/>
                  </a:cubicBezTo>
                  <a:cubicBezTo>
                    <a:pt x="1" y="1"/>
                    <a:pt x="3" y="3"/>
                    <a:pt x="3" y="3"/>
                  </a:cubicBezTo>
                  <a:cubicBezTo>
                    <a:pt x="6" y="6"/>
                    <a:pt x="8" y="8"/>
                    <a:pt x="10" y="11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7" name="任意多边形: 形状 1616"/>
            <p:cNvSpPr/>
            <p:nvPr>
              <p:custDataLst>
                <p:tags r:id="rId209"/>
              </p:custDataLst>
            </p:nvPr>
          </p:nvSpPr>
          <p:spPr bwMode="auto">
            <a:xfrm flipH="1">
              <a:off x="1620977" y="5401709"/>
              <a:ext cx="88443" cy="58457"/>
            </a:xfrm>
            <a:custGeom>
              <a:avLst/>
              <a:gdLst>
                <a:gd name="T0" fmla="*/ 17 w 41"/>
                <a:gd name="T1" fmla="*/ 2 h 29"/>
                <a:gd name="T2" fmla="*/ 0 w 41"/>
                <a:gd name="T3" fmla="*/ 1 h 29"/>
                <a:gd name="T4" fmla="*/ 5 w 41"/>
                <a:gd name="T5" fmla="*/ 2 h 29"/>
                <a:gd name="T6" fmla="*/ 14 w 41"/>
                <a:gd name="T7" fmla="*/ 9 h 29"/>
                <a:gd name="T8" fmla="*/ 27 w 41"/>
                <a:gd name="T9" fmla="*/ 23 h 29"/>
                <a:gd name="T10" fmla="*/ 41 w 41"/>
                <a:gd name="T11" fmla="*/ 29 h 29"/>
                <a:gd name="T12" fmla="*/ 33 w 41"/>
                <a:gd name="T13" fmla="*/ 19 h 29"/>
                <a:gd name="T14" fmla="*/ 28 w 41"/>
                <a:gd name="T15" fmla="*/ 11 h 29"/>
                <a:gd name="T16" fmla="*/ 17 w 41"/>
                <a:gd name="T17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29">
                  <a:moveTo>
                    <a:pt x="17" y="2"/>
                  </a:moveTo>
                  <a:cubicBezTo>
                    <a:pt x="11" y="0"/>
                    <a:pt x="6" y="0"/>
                    <a:pt x="0" y="1"/>
                  </a:cubicBezTo>
                  <a:cubicBezTo>
                    <a:pt x="1" y="0"/>
                    <a:pt x="4" y="2"/>
                    <a:pt x="5" y="2"/>
                  </a:cubicBezTo>
                  <a:cubicBezTo>
                    <a:pt x="8" y="4"/>
                    <a:pt x="12" y="6"/>
                    <a:pt x="14" y="9"/>
                  </a:cubicBezTo>
                  <a:cubicBezTo>
                    <a:pt x="19" y="13"/>
                    <a:pt x="22" y="19"/>
                    <a:pt x="27" y="23"/>
                  </a:cubicBezTo>
                  <a:cubicBezTo>
                    <a:pt x="31" y="26"/>
                    <a:pt x="36" y="29"/>
                    <a:pt x="41" y="29"/>
                  </a:cubicBezTo>
                  <a:cubicBezTo>
                    <a:pt x="37" y="28"/>
                    <a:pt x="34" y="23"/>
                    <a:pt x="33" y="19"/>
                  </a:cubicBezTo>
                  <a:cubicBezTo>
                    <a:pt x="31" y="16"/>
                    <a:pt x="30" y="14"/>
                    <a:pt x="28" y="11"/>
                  </a:cubicBezTo>
                  <a:cubicBezTo>
                    <a:pt x="25" y="7"/>
                    <a:pt x="21" y="4"/>
                    <a:pt x="17" y="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8" name="任意多边形: 形状 1617"/>
            <p:cNvSpPr/>
            <p:nvPr>
              <p:custDataLst>
                <p:tags r:id="rId210"/>
              </p:custDataLst>
            </p:nvPr>
          </p:nvSpPr>
          <p:spPr bwMode="auto">
            <a:xfrm flipH="1">
              <a:off x="1627360" y="5403428"/>
              <a:ext cx="116708" cy="73071"/>
            </a:xfrm>
            <a:custGeom>
              <a:avLst/>
              <a:gdLst>
                <a:gd name="T0" fmla="*/ 0 w 54"/>
                <a:gd name="T1" fmla="*/ 0 h 36"/>
                <a:gd name="T2" fmla="*/ 3 w 54"/>
                <a:gd name="T3" fmla="*/ 2 h 36"/>
                <a:gd name="T4" fmla="*/ 9 w 54"/>
                <a:gd name="T5" fmla="*/ 9 h 36"/>
                <a:gd name="T6" fmla="*/ 24 w 54"/>
                <a:gd name="T7" fmla="*/ 30 h 36"/>
                <a:gd name="T8" fmla="*/ 54 w 54"/>
                <a:gd name="T9" fmla="*/ 30 h 36"/>
                <a:gd name="T10" fmla="*/ 42 w 54"/>
                <a:gd name="T11" fmla="*/ 26 h 36"/>
                <a:gd name="T12" fmla="*/ 32 w 54"/>
                <a:gd name="T13" fmla="*/ 15 h 36"/>
                <a:gd name="T14" fmla="*/ 19 w 54"/>
                <a:gd name="T15" fmla="*/ 4 h 36"/>
                <a:gd name="T16" fmla="*/ 0 w 54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6">
                  <a:moveTo>
                    <a:pt x="0" y="0"/>
                  </a:moveTo>
                  <a:cubicBezTo>
                    <a:pt x="1" y="0"/>
                    <a:pt x="2" y="2"/>
                    <a:pt x="3" y="2"/>
                  </a:cubicBezTo>
                  <a:cubicBezTo>
                    <a:pt x="5" y="4"/>
                    <a:pt x="7" y="7"/>
                    <a:pt x="9" y="9"/>
                  </a:cubicBezTo>
                  <a:cubicBezTo>
                    <a:pt x="13" y="17"/>
                    <a:pt x="16" y="25"/>
                    <a:pt x="24" y="30"/>
                  </a:cubicBezTo>
                  <a:cubicBezTo>
                    <a:pt x="33" y="36"/>
                    <a:pt x="45" y="36"/>
                    <a:pt x="54" y="30"/>
                  </a:cubicBezTo>
                  <a:cubicBezTo>
                    <a:pt x="50" y="30"/>
                    <a:pt x="45" y="28"/>
                    <a:pt x="42" y="26"/>
                  </a:cubicBezTo>
                  <a:cubicBezTo>
                    <a:pt x="38" y="23"/>
                    <a:pt x="35" y="19"/>
                    <a:pt x="32" y="15"/>
                  </a:cubicBezTo>
                  <a:cubicBezTo>
                    <a:pt x="28" y="10"/>
                    <a:pt x="25" y="7"/>
                    <a:pt x="19" y="4"/>
                  </a:cubicBezTo>
                  <a:cubicBezTo>
                    <a:pt x="13" y="0"/>
                    <a:pt x="7" y="0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19" name="任意多边形: 形状 1618"/>
            <p:cNvSpPr/>
            <p:nvPr>
              <p:custDataLst>
                <p:tags r:id="rId211"/>
              </p:custDataLst>
            </p:nvPr>
          </p:nvSpPr>
          <p:spPr bwMode="auto">
            <a:xfrm flipH="1">
              <a:off x="1569006" y="5350129"/>
              <a:ext cx="47413" cy="93703"/>
            </a:xfrm>
            <a:custGeom>
              <a:avLst/>
              <a:gdLst>
                <a:gd name="T0" fmla="*/ 14 w 22"/>
                <a:gd name="T1" fmla="*/ 15 h 46"/>
                <a:gd name="T2" fmla="*/ 3 w 22"/>
                <a:gd name="T3" fmla="*/ 31 h 46"/>
                <a:gd name="T4" fmla="*/ 0 w 22"/>
                <a:gd name="T5" fmla="*/ 46 h 46"/>
                <a:gd name="T6" fmla="*/ 8 w 22"/>
                <a:gd name="T7" fmla="*/ 35 h 46"/>
                <a:gd name="T8" fmla="*/ 15 w 22"/>
                <a:gd name="T9" fmla="*/ 29 h 46"/>
                <a:gd name="T10" fmla="*/ 22 w 22"/>
                <a:gd name="T11" fmla="*/ 16 h 46"/>
                <a:gd name="T12" fmla="*/ 19 w 22"/>
                <a:gd name="T13" fmla="*/ 0 h 46"/>
                <a:gd name="T14" fmla="*/ 18 w 22"/>
                <a:gd name="T15" fmla="*/ 5 h 46"/>
                <a:gd name="T16" fmla="*/ 14 w 22"/>
                <a:gd name="T17" fmla="*/ 1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46">
                  <a:moveTo>
                    <a:pt x="14" y="15"/>
                  </a:moveTo>
                  <a:cubicBezTo>
                    <a:pt x="11" y="21"/>
                    <a:pt x="6" y="25"/>
                    <a:pt x="3" y="31"/>
                  </a:cubicBezTo>
                  <a:cubicBezTo>
                    <a:pt x="1" y="35"/>
                    <a:pt x="0" y="41"/>
                    <a:pt x="0" y="46"/>
                  </a:cubicBezTo>
                  <a:cubicBezTo>
                    <a:pt x="1" y="42"/>
                    <a:pt x="5" y="38"/>
                    <a:pt x="8" y="35"/>
                  </a:cubicBezTo>
                  <a:cubicBezTo>
                    <a:pt x="10" y="33"/>
                    <a:pt x="13" y="31"/>
                    <a:pt x="15" y="29"/>
                  </a:cubicBezTo>
                  <a:cubicBezTo>
                    <a:pt x="18" y="25"/>
                    <a:pt x="21" y="21"/>
                    <a:pt x="22" y="16"/>
                  </a:cubicBezTo>
                  <a:cubicBezTo>
                    <a:pt x="22" y="11"/>
                    <a:pt x="21" y="5"/>
                    <a:pt x="19" y="0"/>
                  </a:cubicBezTo>
                  <a:cubicBezTo>
                    <a:pt x="20" y="1"/>
                    <a:pt x="19" y="3"/>
                    <a:pt x="18" y="5"/>
                  </a:cubicBezTo>
                  <a:cubicBezTo>
                    <a:pt x="18" y="8"/>
                    <a:pt x="17" y="12"/>
                    <a:pt x="14" y="1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0" name="任意多边形: 形状 1619"/>
            <p:cNvSpPr/>
            <p:nvPr>
              <p:custDataLst>
                <p:tags r:id="rId212"/>
              </p:custDataLst>
            </p:nvPr>
          </p:nvSpPr>
          <p:spPr bwMode="auto">
            <a:xfrm flipH="1">
              <a:off x="1579948" y="5320041"/>
              <a:ext cx="64737" cy="119492"/>
            </a:xfrm>
            <a:custGeom>
              <a:avLst/>
              <a:gdLst>
                <a:gd name="T0" fmla="*/ 10 w 30"/>
                <a:gd name="T1" fmla="*/ 59 h 59"/>
                <a:gd name="T2" fmla="*/ 12 w 30"/>
                <a:gd name="T3" fmla="*/ 46 h 59"/>
                <a:gd name="T4" fmla="*/ 20 w 30"/>
                <a:gd name="T5" fmla="*/ 34 h 59"/>
                <a:gd name="T6" fmla="*/ 28 w 30"/>
                <a:gd name="T7" fmla="*/ 19 h 59"/>
                <a:gd name="T8" fmla="*/ 27 w 30"/>
                <a:gd name="T9" fmla="*/ 0 h 59"/>
                <a:gd name="T10" fmla="*/ 26 w 30"/>
                <a:gd name="T11" fmla="*/ 3 h 59"/>
                <a:gd name="T12" fmla="*/ 21 w 30"/>
                <a:gd name="T13" fmla="*/ 10 h 59"/>
                <a:gd name="T14" fmla="*/ 3 w 30"/>
                <a:gd name="T15" fmla="*/ 30 h 59"/>
                <a:gd name="T16" fmla="*/ 10 w 30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59">
                  <a:moveTo>
                    <a:pt x="10" y="59"/>
                  </a:moveTo>
                  <a:cubicBezTo>
                    <a:pt x="9" y="55"/>
                    <a:pt x="10" y="50"/>
                    <a:pt x="12" y="46"/>
                  </a:cubicBezTo>
                  <a:cubicBezTo>
                    <a:pt x="13" y="42"/>
                    <a:pt x="17" y="38"/>
                    <a:pt x="20" y="34"/>
                  </a:cubicBezTo>
                  <a:cubicBezTo>
                    <a:pt x="24" y="30"/>
                    <a:pt x="27" y="25"/>
                    <a:pt x="28" y="19"/>
                  </a:cubicBezTo>
                  <a:cubicBezTo>
                    <a:pt x="30" y="13"/>
                    <a:pt x="29" y="6"/>
                    <a:pt x="27" y="0"/>
                  </a:cubicBezTo>
                  <a:cubicBezTo>
                    <a:pt x="28" y="0"/>
                    <a:pt x="26" y="2"/>
                    <a:pt x="26" y="3"/>
                  </a:cubicBezTo>
                  <a:cubicBezTo>
                    <a:pt x="25" y="6"/>
                    <a:pt x="23" y="8"/>
                    <a:pt x="21" y="10"/>
                  </a:cubicBezTo>
                  <a:cubicBezTo>
                    <a:pt x="14" y="16"/>
                    <a:pt x="6" y="21"/>
                    <a:pt x="3" y="30"/>
                  </a:cubicBezTo>
                  <a:cubicBezTo>
                    <a:pt x="0" y="40"/>
                    <a:pt x="2" y="51"/>
                    <a:pt x="10" y="59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1" name="任意多边形: 形状 1620"/>
            <p:cNvSpPr/>
            <p:nvPr>
              <p:custDataLst>
                <p:tags r:id="rId213"/>
              </p:custDataLst>
            </p:nvPr>
          </p:nvSpPr>
          <p:spPr bwMode="auto">
            <a:xfrm flipH="1">
              <a:off x="3610480" y="2668855"/>
              <a:ext cx="155002" cy="115194"/>
            </a:xfrm>
            <a:custGeom>
              <a:avLst/>
              <a:gdLst>
                <a:gd name="T0" fmla="*/ 65 w 72"/>
                <a:gd name="T1" fmla="*/ 13 h 57"/>
                <a:gd name="T2" fmla="*/ 58 w 72"/>
                <a:gd name="T3" fmla="*/ 13 h 57"/>
                <a:gd name="T4" fmla="*/ 58 w 72"/>
                <a:gd name="T5" fmla="*/ 16 h 57"/>
                <a:gd name="T6" fmla="*/ 66 w 72"/>
                <a:gd name="T7" fmla="*/ 32 h 57"/>
                <a:gd name="T8" fmla="*/ 66 w 72"/>
                <a:gd name="T9" fmla="*/ 40 h 57"/>
                <a:gd name="T10" fmla="*/ 58 w 72"/>
                <a:gd name="T11" fmla="*/ 57 h 57"/>
                <a:gd name="T12" fmla="*/ 72 w 72"/>
                <a:gd name="T13" fmla="*/ 53 h 57"/>
                <a:gd name="T14" fmla="*/ 72 w 72"/>
                <a:gd name="T15" fmla="*/ 20 h 57"/>
                <a:gd name="T16" fmla="*/ 58 w 72"/>
                <a:gd name="T17" fmla="*/ 0 h 57"/>
                <a:gd name="T18" fmla="*/ 36 w 72"/>
                <a:gd name="T19" fmla="*/ 4 h 57"/>
                <a:gd name="T20" fmla="*/ 58 w 72"/>
                <a:gd name="T21" fmla="*/ 13 h 57"/>
                <a:gd name="T22" fmla="*/ 36 w 72"/>
                <a:gd name="T23" fmla="*/ 45 h 57"/>
                <a:gd name="T24" fmla="*/ 55 w 72"/>
                <a:gd name="T25" fmla="*/ 53 h 57"/>
                <a:gd name="T26" fmla="*/ 58 w 72"/>
                <a:gd name="T27" fmla="*/ 57 h 57"/>
                <a:gd name="T28" fmla="*/ 51 w 72"/>
                <a:gd name="T29" fmla="*/ 40 h 57"/>
                <a:gd name="T30" fmla="*/ 58 w 72"/>
                <a:gd name="T31" fmla="*/ 32 h 57"/>
                <a:gd name="T32" fmla="*/ 36 w 72"/>
                <a:gd name="T33" fmla="*/ 16 h 57"/>
                <a:gd name="T34" fmla="*/ 36 w 72"/>
                <a:gd name="T35" fmla="*/ 0 h 57"/>
                <a:gd name="T36" fmla="*/ 14 w 72"/>
                <a:gd name="T37" fmla="*/ 0 h 57"/>
                <a:gd name="T38" fmla="*/ 18 w 72"/>
                <a:gd name="T39" fmla="*/ 4 h 57"/>
                <a:gd name="T40" fmla="*/ 36 w 72"/>
                <a:gd name="T41" fmla="*/ 4 h 57"/>
                <a:gd name="T42" fmla="*/ 14 w 72"/>
                <a:gd name="T43" fmla="*/ 57 h 57"/>
                <a:gd name="T44" fmla="*/ 17 w 72"/>
                <a:gd name="T45" fmla="*/ 53 h 57"/>
                <a:gd name="T46" fmla="*/ 36 w 72"/>
                <a:gd name="T47" fmla="*/ 45 h 57"/>
                <a:gd name="T48" fmla="*/ 14 w 72"/>
                <a:gd name="T49" fmla="*/ 16 h 57"/>
                <a:gd name="T50" fmla="*/ 21 w 72"/>
                <a:gd name="T51" fmla="*/ 32 h 57"/>
                <a:gd name="T52" fmla="*/ 21 w 72"/>
                <a:gd name="T53" fmla="*/ 40 h 57"/>
                <a:gd name="T54" fmla="*/ 14 w 72"/>
                <a:gd name="T55" fmla="*/ 57 h 57"/>
                <a:gd name="T56" fmla="*/ 7 w 72"/>
                <a:gd name="T57" fmla="*/ 13 h 57"/>
                <a:gd name="T58" fmla="*/ 0 w 72"/>
                <a:gd name="T59" fmla="*/ 44 h 57"/>
                <a:gd name="T60" fmla="*/ 0 w 72"/>
                <a:gd name="T61" fmla="*/ 53 h 57"/>
                <a:gd name="T62" fmla="*/ 14 w 72"/>
                <a:gd name="T63" fmla="*/ 57 h 57"/>
                <a:gd name="T64" fmla="*/ 7 w 72"/>
                <a:gd name="T65" fmla="*/ 40 h 57"/>
                <a:gd name="T66" fmla="*/ 14 w 72"/>
                <a:gd name="T67" fmla="*/ 32 h 57"/>
                <a:gd name="T68" fmla="*/ 12 w 72"/>
                <a:gd name="T69" fmla="*/ 16 h 57"/>
                <a:gd name="T70" fmla="*/ 14 w 72"/>
                <a:gd name="T7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57">
                  <a:moveTo>
                    <a:pt x="72" y="20"/>
                  </a:moveTo>
                  <a:cubicBezTo>
                    <a:pt x="65" y="13"/>
                    <a:pt x="65" y="13"/>
                    <a:pt x="65" y="1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1" y="57"/>
                    <a:pt x="72" y="55"/>
                    <a:pt x="72" y="53"/>
                  </a:cubicBezTo>
                  <a:cubicBezTo>
                    <a:pt x="72" y="45"/>
                    <a:pt x="72" y="45"/>
                    <a:pt x="72" y="45"/>
                  </a:cubicBezTo>
                  <a:lnTo>
                    <a:pt x="72" y="20"/>
                  </a:lnTo>
                  <a:close/>
                  <a:moveTo>
                    <a:pt x="58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0"/>
                    <a:pt x="58" y="0"/>
                    <a:pt x="58" y="0"/>
                  </a:cubicBezTo>
                  <a:close/>
                  <a:moveTo>
                    <a:pt x="36" y="45"/>
                  </a:moveTo>
                  <a:cubicBezTo>
                    <a:pt x="55" y="45"/>
                    <a:pt x="55" y="45"/>
                    <a:pt x="55" y="45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5"/>
                    <a:pt x="56" y="57"/>
                    <a:pt x="58" y="57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36" y="45"/>
                  </a:lnTo>
                  <a:close/>
                  <a:moveTo>
                    <a:pt x="3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0"/>
                    <a:pt x="36" y="0"/>
                    <a:pt x="36" y="0"/>
                  </a:cubicBezTo>
                  <a:close/>
                  <a:moveTo>
                    <a:pt x="14" y="57"/>
                  </a:moveTo>
                  <a:cubicBezTo>
                    <a:pt x="14" y="57"/>
                    <a:pt x="14" y="57"/>
                    <a:pt x="14" y="57"/>
                  </a:cubicBezTo>
                  <a:cubicBezTo>
                    <a:pt x="16" y="57"/>
                    <a:pt x="17" y="55"/>
                    <a:pt x="17" y="53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14" y="40"/>
                    <a:pt x="14" y="40"/>
                    <a:pt x="14" y="40"/>
                  </a:cubicBezTo>
                  <a:lnTo>
                    <a:pt x="14" y="57"/>
                  </a:lnTo>
                  <a:close/>
                  <a:moveTo>
                    <a:pt x="14" y="0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2" y="57"/>
                    <a:pt x="3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2" name="任意多边形: 形状 1621"/>
            <p:cNvSpPr/>
            <p:nvPr>
              <p:custDataLst>
                <p:tags r:id="rId214"/>
              </p:custDataLst>
            </p:nvPr>
          </p:nvSpPr>
          <p:spPr bwMode="auto">
            <a:xfrm flipH="1">
              <a:off x="3808335" y="2024111"/>
              <a:ext cx="64737" cy="42124"/>
            </a:xfrm>
            <a:custGeom>
              <a:avLst/>
              <a:gdLst>
                <a:gd name="T0" fmla="*/ 19 w 30"/>
                <a:gd name="T1" fmla="*/ 6 h 21"/>
                <a:gd name="T2" fmla="*/ 26 w 30"/>
                <a:gd name="T3" fmla="*/ 2 h 21"/>
                <a:gd name="T4" fmla="*/ 30 w 30"/>
                <a:gd name="T5" fmla="*/ 1 h 21"/>
                <a:gd name="T6" fmla="*/ 18 w 30"/>
                <a:gd name="T7" fmla="*/ 2 h 21"/>
                <a:gd name="T8" fmla="*/ 9 w 30"/>
                <a:gd name="T9" fmla="*/ 8 h 21"/>
                <a:gd name="T10" fmla="*/ 6 w 30"/>
                <a:gd name="T11" fmla="*/ 14 h 21"/>
                <a:gd name="T12" fmla="*/ 0 w 30"/>
                <a:gd name="T13" fmla="*/ 21 h 21"/>
                <a:gd name="T14" fmla="*/ 10 w 30"/>
                <a:gd name="T15" fmla="*/ 17 h 21"/>
                <a:gd name="T16" fmla="*/ 19 w 30"/>
                <a:gd name="T1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1">
                  <a:moveTo>
                    <a:pt x="19" y="6"/>
                  </a:moveTo>
                  <a:cubicBezTo>
                    <a:pt x="21" y="4"/>
                    <a:pt x="24" y="3"/>
                    <a:pt x="26" y="2"/>
                  </a:cubicBezTo>
                  <a:cubicBezTo>
                    <a:pt x="27" y="2"/>
                    <a:pt x="29" y="1"/>
                    <a:pt x="30" y="1"/>
                  </a:cubicBezTo>
                  <a:cubicBezTo>
                    <a:pt x="26" y="0"/>
                    <a:pt x="21" y="0"/>
                    <a:pt x="18" y="2"/>
                  </a:cubicBezTo>
                  <a:cubicBezTo>
                    <a:pt x="14" y="3"/>
                    <a:pt x="11" y="5"/>
                    <a:pt x="9" y="8"/>
                  </a:cubicBezTo>
                  <a:cubicBezTo>
                    <a:pt x="8" y="10"/>
                    <a:pt x="7" y="12"/>
                    <a:pt x="6" y="14"/>
                  </a:cubicBezTo>
                  <a:cubicBezTo>
                    <a:pt x="5" y="17"/>
                    <a:pt x="3" y="20"/>
                    <a:pt x="0" y="21"/>
                  </a:cubicBezTo>
                  <a:cubicBezTo>
                    <a:pt x="4" y="21"/>
                    <a:pt x="7" y="19"/>
                    <a:pt x="10" y="17"/>
                  </a:cubicBezTo>
                  <a:cubicBezTo>
                    <a:pt x="14" y="14"/>
                    <a:pt x="16" y="10"/>
                    <a:pt x="19" y="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3" name="任意多边形: 形状 1622"/>
            <p:cNvSpPr/>
            <p:nvPr>
              <p:custDataLst>
                <p:tags r:id="rId215"/>
              </p:custDataLst>
            </p:nvPr>
          </p:nvSpPr>
          <p:spPr bwMode="auto">
            <a:xfrm flipH="1">
              <a:off x="3784629" y="2025830"/>
              <a:ext cx="84796" cy="53299"/>
            </a:xfrm>
            <a:custGeom>
              <a:avLst/>
              <a:gdLst>
                <a:gd name="T0" fmla="*/ 25 w 39"/>
                <a:gd name="T1" fmla="*/ 3 h 26"/>
                <a:gd name="T2" fmla="*/ 16 w 39"/>
                <a:gd name="T3" fmla="*/ 11 h 26"/>
                <a:gd name="T4" fmla="*/ 8 w 39"/>
                <a:gd name="T5" fmla="*/ 19 h 26"/>
                <a:gd name="T6" fmla="*/ 0 w 39"/>
                <a:gd name="T7" fmla="*/ 22 h 26"/>
                <a:gd name="T8" fmla="*/ 21 w 39"/>
                <a:gd name="T9" fmla="*/ 22 h 26"/>
                <a:gd name="T10" fmla="*/ 33 w 39"/>
                <a:gd name="T11" fmla="*/ 7 h 26"/>
                <a:gd name="T12" fmla="*/ 37 w 39"/>
                <a:gd name="T13" fmla="*/ 2 h 26"/>
                <a:gd name="T14" fmla="*/ 39 w 39"/>
                <a:gd name="T15" fmla="*/ 0 h 26"/>
                <a:gd name="T16" fmla="*/ 25 w 39"/>
                <a:gd name="T1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6">
                  <a:moveTo>
                    <a:pt x="25" y="3"/>
                  </a:moveTo>
                  <a:cubicBezTo>
                    <a:pt x="21" y="5"/>
                    <a:pt x="19" y="8"/>
                    <a:pt x="16" y="11"/>
                  </a:cubicBezTo>
                  <a:cubicBezTo>
                    <a:pt x="14" y="14"/>
                    <a:pt x="11" y="17"/>
                    <a:pt x="8" y="19"/>
                  </a:cubicBezTo>
                  <a:cubicBezTo>
                    <a:pt x="6" y="20"/>
                    <a:pt x="3" y="22"/>
                    <a:pt x="0" y="22"/>
                  </a:cubicBezTo>
                  <a:cubicBezTo>
                    <a:pt x="7" y="26"/>
                    <a:pt x="15" y="26"/>
                    <a:pt x="21" y="22"/>
                  </a:cubicBezTo>
                  <a:cubicBezTo>
                    <a:pt x="27" y="18"/>
                    <a:pt x="30" y="12"/>
                    <a:pt x="33" y="7"/>
                  </a:cubicBezTo>
                  <a:cubicBezTo>
                    <a:pt x="34" y="5"/>
                    <a:pt x="35" y="3"/>
                    <a:pt x="37" y="2"/>
                  </a:cubicBezTo>
                  <a:cubicBezTo>
                    <a:pt x="37" y="1"/>
                    <a:pt x="39" y="0"/>
                    <a:pt x="39" y="0"/>
                  </a:cubicBezTo>
                  <a:cubicBezTo>
                    <a:pt x="34" y="0"/>
                    <a:pt x="30" y="0"/>
                    <a:pt x="25" y="3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4" name="任意多边形: 形状 1623"/>
            <p:cNvSpPr/>
            <p:nvPr>
              <p:custDataLst>
                <p:tags r:id="rId216"/>
              </p:custDataLst>
            </p:nvPr>
          </p:nvSpPr>
          <p:spPr bwMode="auto">
            <a:xfrm flipH="1">
              <a:off x="3819277" y="1979409"/>
              <a:ext cx="53795" cy="36106"/>
            </a:xfrm>
            <a:custGeom>
              <a:avLst/>
              <a:gdLst>
                <a:gd name="T0" fmla="*/ 8 w 25"/>
                <a:gd name="T1" fmla="*/ 7 h 18"/>
                <a:gd name="T2" fmla="*/ 5 w 25"/>
                <a:gd name="T3" fmla="*/ 12 h 18"/>
                <a:gd name="T4" fmla="*/ 0 w 25"/>
                <a:gd name="T5" fmla="*/ 18 h 18"/>
                <a:gd name="T6" fmla="*/ 9 w 25"/>
                <a:gd name="T7" fmla="*/ 15 h 18"/>
                <a:gd name="T8" fmla="*/ 17 w 25"/>
                <a:gd name="T9" fmla="*/ 5 h 18"/>
                <a:gd name="T10" fmla="*/ 22 w 25"/>
                <a:gd name="T11" fmla="*/ 2 h 18"/>
                <a:gd name="T12" fmla="*/ 25 w 25"/>
                <a:gd name="T13" fmla="*/ 1 h 18"/>
                <a:gd name="T14" fmla="*/ 15 w 25"/>
                <a:gd name="T15" fmla="*/ 1 h 18"/>
                <a:gd name="T16" fmla="*/ 8 w 25"/>
                <a:gd name="T17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8">
                  <a:moveTo>
                    <a:pt x="8" y="7"/>
                  </a:moveTo>
                  <a:cubicBezTo>
                    <a:pt x="7" y="9"/>
                    <a:pt x="6" y="10"/>
                    <a:pt x="5" y="12"/>
                  </a:cubicBezTo>
                  <a:cubicBezTo>
                    <a:pt x="4" y="14"/>
                    <a:pt x="3" y="17"/>
                    <a:pt x="0" y="18"/>
                  </a:cubicBezTo>
                  <a:cubicBezTo>
                    <a:pt x="3" y="18"/>
                    <a:pt x="6" y="17"/>
                    <a:pt x="9" y="15"/>
                  </a:cubicBezTo>
                  <a:cubicBezTo>
                    <a:pt x="12" y="12"/>
                    <a:pt x="14" y="8"/>
                    <a:pt x="17" y="5"/>
                  </a:cubicBezTo>
                  <a:cubicBezTo>
                    <a:pt x="18" y="4"/>
                    <a:pt x="20" y="3"/>
                    <a:pt x="22" y="2"/>
                  </a:cubicBezTo>
                  <a:cubicBezTo>
                    <a:pt x="23" y="1"/>
                    <a:pt x="25" y="0"/>
                    <a:pt x="25" y="1"/>
                  </a:cubicBezTo>
                  <a:cubicBezTo>
                    <a:pt x="22" y="0"/>
                    <a:pt x="18" y="0"/>
                    <a:pt x="15" y="1"/>
                  </a:cubicBezTo>
                  <a:cubicBezTo>
                    <a:pt x="12" y="2"/>
                    <a:pt x="10" y="5"/>
                    <a:pt x="8" y="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5" name="任意多边形: 形状 1624"/>
            <p:cNvSpPr/>
            <p:nvPr>
              <p:custDataLst>
                <p:tags r:id="rId217"/>
              </p:custDataLst>
            </p:nvPr>
          </p:nvSpPr>
          <p:spPr bwMode="auto">
            <a:xfrm flipH="1">
              <a:off x="3798306" y="1981128"/>
              <a:ext cx="71119" cy="44702"/>
            </a:xfrm>
            <a:custGeom>
              <a:avLst/>
              <a:gdLst>
                <a:gd name="T0" fmla="*/ 32 w 33"/>
                <a:gd name="T1" fmla="*/ 1 h 22"/>
                <a:gd name="T2" fmla="*/ 33 w 33"/>
                <a:gd name="T3" fmla="*/ 0 h 22"/>
                <a:gd name="T4" fmla="*/ 22 w 33"/>
                <a:gd name="T5" fmla="*/ 2 h 22"/>
                <a:gd name="T6" fmla="*/ 13 w 33"/>
                <a:gd name="T7" fmla="*/ 9 h 22"/>
                <a:gd name="T8" fmla="*/ 7 w 33"/>
                <a:gd name="T9" fmla="*/ 16 h 22"/>
                <a:gd name="T10" fmla="*/ 0 w 33"/>
                <a:gd name="T11" fmla="*/ 19 h 22"/>
                <a:gd name="T12" fmla="*/ 18 w 33"/>
                <a:gd name="T13" fmla="*/ 19 h 22"/>
                <a:gd name="T14" fmla="*/ 28 w 33"/>
                <a:gd name="T15" fmla="*/ 5 h 22"/>
                <a:gd name="T16" fmla="*/ 32 w 33"/>
                <a:gd name="T17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2">
                  <a:moveTo>
                    <a:pt x="32" y="1"/>
                  </a:moveTo>
                  <a:cubicBezTo>
                    <a:pt x="32" y="1"/>
                    <a:pt x="33" y="0"/>
                    <a:pt x="33" y="0"/>
                  </a:cubicBezTo>
                  <a:cubicBezTo>
                    <a:pt x="29" y="0"/>
                    <a:pt x="25" y="0"/>
                    <a:pt x="22" y="2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2" y="12"/>
                    <a:pt x="10" y="14"/>
                    <a:pt x="7" y="16"/>
                  </a:cubicBezTo>
                  <a:cubicBezTo>
                    <a:pt x="5" y="17"/>
                    <a:pt x="2" y="19"/>
                    <a:pt x="0" y="19"/>
                  </a:cubicBezTo>
                  <a:cubicBezTo>
                    <a:pt x="6" y="22"/>
                    <a:pt x="13" y="22"/>
                    <a:pt x="18" y="19"/>
                  </a:cubicBezTo>
                  <a:cubicBezTo>
                    <a:pt x="23" y="16"/>
                    <a:pt x="25" y="10"/>
                    <a:pt x="28" y="5"/>
                  </a:cubicBezTo>
                  <a:cubicBezTo>
                    <a:pt x="29" y="4"/>
                    <a:pt x="30" y="2"/>
                    <a:pt x="32" y="1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6" name="任意多边形: 形状 1625"/>
            <p:cNvSpPr/>
            <p:nvPr>
              <p:custDataLst>
                <p:tags r:id="rId218"/>
              </p:custDataLst>
            </p:nvPr>
          </p:nvSpPr>
          <p:spPr bwMode="auto">
            <a:xfrm flipH="1">
              <a:off x="3879454" y="2024111"/>
              <a:ext cx="64737" cy="42124"/>
            </a:xfrm>
            <a:custGeom>
              <a:avLst/>
              <a:gdLst>
                <a:gd name="T0" fmla="*/ 11 w 30"/>
                <a:gd name="T1" fmla="*/ 6 h 21"/>
                <a:gd name="T2" fmla="*/ 20 w 30"/>
                <a:gd name="T3" fmla="*/ 17 h 21"/>
                <a:gd name="T4" fmla="*/ 30 w 30"/>
                <a:gd name="T5" fmla="*/ 21 h 21"/>
                <a:gd name="T6" fmla="*/ 24 w 30"/>
                <a:gd name="T7" fmla="*/ 14 h 21"/>
                <a:gd name="T8" fmla="*/ 20 w 30"/>
                <a:gd name="T9" fmla="*/ 8 h 21"/>
                <a:gd name="T10" fmla="*/ 12 w 30"/>
                <a:gd name="T11" fmla="*/ 2 h 21"/>
                <a:gd name="T12" fmla="*/ 0 w 30"/>
                <a:gd name="T13" fmla="*/ 1 h 21"/>
                <a:gd name="T14" fmla="*/ 4 w 30"/>
                <a:gd name="T15" fmla="*/ 2 h 21"/>
                <a:gd name="T16" fmla="*/ 11 w 30"/>
                <a:gd name="T1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1">
                  <a:moveTo>
                    <a:pt x="11" y="6"/>
                  </a:moveTo>
                  <a:cubicBezTo>
                    <a:pt x="14" y="10"/>
                    <a:pt x="16" y="14"/>
                    <a:pt x="20" y="17"/>
                  </a:cubicBezTo>
                  <a:cubicBezTo>
                    <a:pt x="23" y="19"/>
                    <a:pt x="26" y="21"/>
                    <a:pt x="30" y="21"/>
                  </a:cubicBezTo>
                  <a:cubicBezTo>
                    <a:pt x="27" y="20"/>
                    <a:pt x="25" y="17"/>
                    <a:pt x="24" y="14"/>
                  </a:cubicBezTo>
                  <a:cubicBezTo>
                    <a:pt x="23" y="12"/>
                    <a:pt x="22" y="10"/>
                    <a:pt x="20" y="8"/>
                  </a:cubicBezTo>
                  <a:cubicBezTo>
                    <a:pt x="18" y="5"/>
                    <a:pt x="16" y="3"/>
                    <a:pt x="12" y="2"/>
                  </a:cubicBezTo>
                  <a:cubicBezTo>
                    <a:pt x="8" y="0"/>
                    <a:pt x="4" y="0"/>
                    <a:pt x="0" y="1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6" y="3"/>
                    <a:pt x="9" y="4"/>
                    <a:pt x="11" y="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7" name="任意多边形: 形状 1626"/>
            <p:cNvSpPr/>
            <p:nvPr>
              <p:custDataLst>
                <p:tags r:id="rId219"/>
              </p:custDataLst>
            </p:nvPr>
          </p:nvSpPr>
          <p:spPr bwMode="auto">
            <a:xfrm flipH="1">
              <a:off x="3884013" y="2025830"/>
              <a:ext cx="83884" cy="53299"/>
            </a:xfrm>
            <a:custGeom>
              <a:avLst/>
              <a:gdLst>
                <a:gd name="T0" fmla="*/ 6 w 39"/>
                <a:gd name="T1" fmla="*/ 7 h 26"/>
                <a:gd name="T2" fmla="*/ 17 w 39"/>
                <a:gd name="T3" fmla="*/ 22 h 26"/>
                <a:gd name="T4" fmla="*/ 39 w 39"/>
                <a:gd name="T5" fmla="*/ 22 h 26"/>
                <a:gd name="T6" fmla="*/ 30 w 39"/>
                <a:gd name="T7" fmla="*/ 19 h 26"/>
                <a:gd name="T8" fmla="*/ 23 w 39"/>
                <a:gd name="T9" fmla="*/ 11 h 26"/>
                <a:gd name="T10" fmla="*/ 13 w 39"/>
                <a:gd name="T11" fmla="*/ 3 h 26"/>
                <a:gd name="T12" fmla="*/ 0 w 39"/>
                <a:gd name="T13" fmla="*/ 0 h 26"/>
                <a:gd name="T14" fmla="*/ 2 w 39"/>
                <a:gd name="T15" fmla="*/ 2 h 26"/>
                <a:gd name="T16" fmla="*/ 6 w 39"/>
                <a:gd name="T1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6">
                  <a:moveTo>
                    <a:pt x="6" y="7"/>
                  </a:moveTo>
                  <a:cubicBezTo>
                    <a:pt x="9" y="12"/>
                    <a:pt x="11" y="18"/>
                    <a:pt x="17" y="22"/>
                  </a:cubicBezTo>
                  <a:cubicBezTo>
                    <a:pt x="24" y="26"/>
                    <a:pt x="32" y="26"/>
                    <a:pt x="39" y="22"/>
                  </a:cubicBezTo>
                  <a:cubicBezTo>
                    <a:pt x="36" y="22"/>
                    <a:pt x="33" y="20"/>
                    <a:pt x="30" y="19"/>
                  </a:cubicBezTo>
                  <a:cubicBezTo>
                    <a:pt x="28" y="17"/>
                    <a:pt x="25" y="14"/>
                    <a:pt x="23" y="11"/>
                  </a:cubicBezTo>
                  <a:cubicBezTo>
                    <a:pt x="20" y="8"/>
                    <a:pt x="18" y="5"/>
                    <a:pt x="13" y="3"/>
                  </a:cubicBezTo>
                  <a:cubicBezTo>
                    <a:pt x="9" y="0"/>
                    <a:pt x="4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5" y="5"/>
                    <a:pt x="6" y="7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8" name="任意多边形: 形状 1627"/>
            <p:cNvSpPr/>
            <p:nvPr>
              <p:custDataLst>
                <p:tags r:id="rId220"/>
              </p:custDataLst>
            </p:nvPr>
          </p:nvSpPr>
          <p:spPr bwMode="auto">
            <a:xfrm flipH="1">
              <a:off x="3879454" y="1979409"/>
              <a:ext cx="56530" cy="36106"/>
            </a:xfrm>
            <a:custGeom>
              <a:avLst/>
              <a:gdLst>
                <a:gd name="T0" fmla="*/ 11 w 26"/>
                <a:gd name="T1" fmla="*/ 1 h 18"/>
                <a:gd name="T2" fmla="*/ 0 w 26"/>
                <a:gd name="T3" fmla="*/ 1 h 18"/>
                <a:gd name="T4" fmla="*/ 3 w 26"/>
                <a:gd name="T5" fmla="*/ 2 h 18"/>
                <a:gd name="T6" fmla="*/ 9 w 26"/>
                <a:gd name="T7" fmla="*/ 5 h 18"/>
                <a:gd name="T8" fmla="*/ 17 w 26"/>
                <a:gd name="T9" fmla="*/ 15 h 18"/>
                <a:gd name="T10" fmla="*/ 26 w 26"/>
                <a:gd name="T11" fmla="*/ 18 h 18"/>
                <a:gd name="T12" fmla="*/ 21 w 26"/>
                <a:gd name="T13" fmla="*/ 12 h 18"/>
                <a:gd name="T14" fmla="*/ 18 w 26"/>
                <a:gd name="T15" fmla="*/ 7 h 18"/>
                <a:gd name="T16" fmla="*/ 11 w 26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8">
                  <a:moveTo>
                    <a:pt x="11" y="1"/>
                  </a:moveTo>
                  <a:cubicBezTo>
                    <a:pt x="7" y="0"/>
                    <a:pt x="4" y="0"/>
                    <a:pt x="0" y="1"/>
                  </a:cubicBezTo>
                  <a:cubicBezTo>
                    <a:pt x="1" y="0"/>
                    <a:pt x="3" y="1"/>
                    <a:pt x="3" y="2"/>
                  </a:cubicBezTo>
                  <a:cubicBezTo>
                    <a:pt x="5" y="3"/>
                    <a:pt x="8" y="4"/>
                    <a:pt x="9" y="5"/>
                  </a:cubicBezTo>
                  <a:cubicBezTo>
                    <a:pt x="12" y="8"/>
                    <a:pt x="14" y="12"/>
                    <a:pt x="17" y="15"/>
                  </a:cubicBezTo>
                  <a:cubicBezTo>
                    <a:pt x="20" y="17"/>
                    <a:pt x="23" y="18"/>
                    <a:pt x="26" y="18"/>
                  </a:cubicBezTo>
                  <a:cubicBezTo>
                    <a:pt x="23" y="17"/>
                    <a:pt x="22" y="14"/>
                    <a:pt x="21" y="12"/>
                  </a:cubicBezTo>
                  <a:cubicBezTo>
                    <a:pt x="20" y="10"/>
                    <a:pt x="19" y="9"/>
                    <a:pt x="18" y="7"/>
                  </a:cubicBezTo>
                  <a:cubicBezTo>
                    <a:pt x="16" y="5"/>
                    <a:pt x="14" y="2"/>
                    <a:pt x="11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29" name="任意多边形: 形状 1628"/>
            <p:cNvSpPr/>
            <p:nvPr>
              <p:custDataLst>
                <p:tags r:id="rId221"/>
              </p:custDataLst>
            </p:nvPr>
          </p:nvSpPr>
          <p:spPr bwMode="auto">
            <a:xfrm flipH="1">
              <a:off x="3884013" y="1981128"/>
              <a:ext cx="73854" cy="44702"/>
            </a:xfrm>
            <a:custGeom>
              <a:avLst/>
              <a:gdLst>
                <a:gd name="T0" fmla="*/ 0 w 34"/>
                <a:gd name="T1" fmla="*/ 0 h 22"/>
                <a:gd name="T2" fmla="*/ 2 w 34"/>
                <a:gd name="T3" fmla="*/ 1 h 22"/>
                <a:gd name="T4" fmla="*/ 6 w 34"/>
                <a:gd name="T5" fmla="*/ 5 h 22"/>
                <a:gd name="T6" fmla="*/ 16 w 34"/>
                <a:gd name="T7" fmla="*/ 19 h 22"/>
                <a:gd name="T8" fmla="*/ 34 w 34"/>
                <a:gd name="T9" fmla="*/ 19 h 22"/>
                <a:gd name="T10" fmla="*/ 27 w 34"/>
                <a:gd name="T11" fmla="*/ 16 h 22"/>
                <a:gd name="T12" fmla="*/ 20 w 34"/>
                <a:gd name="T13" fmla="*/ 9 h 22"/>
                <a:gd name="T14" fmla="*/ 12 w 34"/>
                <a:gd name="T15" fmla="*/ 2 h 22"/>
                <a:gd name="T16" fmla="*/ 0 w 3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0" y="0"/>
                  </a:moveTo>
                  <a:cubicBezTo>
                    <a:pt x="1" y="0"/>
                    <a:pt x="2" y="1"/>
                    <a:pt x="2" y="1"/>
                  </a:cubicBezTo>
                  <a:cubicBezTo>
                    <a:pt x="4" y="2"/>
                    <a:pt x="5" y="4"/>
                    <a:pt x="6" y="5"/>
                  </a:cubicBezTo>
                  <a:cubicBezTo>
                    <a:pt x="9" y="10"/>
                    <a:pt x="10" y="16"/>
                    <a:pt x="16" y="19"/>
                  </a:cubicBezTo>
                  <a:cubicBezTo>
                    <a:pt x="21" y="22"/>
                    <a:pt x="28" y="22"/>
                    <a:pt x="34" y="19"/>
                  </a:cubicBezTo>
                  <a:cubicBezTo>
                    <a:pt x="31" y="19"/>
                    <a:pt x="29" y="17"/>
                    <a:pt x="27" y="16"/>
                  </a:cubicBezTo>
                  <a:cubicBezTo>
                    <a:pt x="24" y="14"/>
                    <a:pt x="22" y="12"/>
                    <a:pt x="20" y="9"/>
                  </a:cubicBezTo>
                  <a:cubicBezTo>
                    <a:pt x="18" y="6"/>
                    <a:pt x="16" y="4"/>
                    <a:pt x="12" y="2"/>
                  </a:cubicBezTo>
                  <a:cubicBezTo>
                    <a:pt x="9" y="0"/>
                    <a:pt x="4" y="0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0" name="任意多边形: 形状 1629"/>
            <p:cNvSpPr/>
            <p:nvPr>
              <p:custDataLst>
                <p:tags r:id="rId222"/>
              </p:custDataLst>
            </p:nvPr>
          </p:nvSpPr>
          <p:spPr bwMode="auto">
            <a:xfrm flipH="1">
              <a:off x="3847541" y="1946741"/>
              <a:ext cx="30089" cy="59317"/>
            </a:xfrm>
            <a:custGeom>
              <a:avLst/>
              <a:gdLst>
                <a:gd name="T0" fmla="*/ 9 w 14"/>
                <a:gd name="T1" fmla="*/ 10 h 29"/>
                <a:gd name="T2" fmla="*/ 2 w 14"/>
                <a:gd name="T3" fmla="*/ 20 h 29"/>
                <a:gd name="T4" fmla="*/ 0 w 14"/>
                <a:gd name="T5" fmla="*/ 29 h 29"/>
                <a:gd name="T6" fmla="*/ 5 w 14"/>
                <a:gd name="T7" fmla="*/ 23 h 29"/>
                <a:gd name="T8" fmla="*/ 9 w 14"/>
                <a:gd name="T9" fmla="*/ 19 h 29"/>
                <a:gd name="T10" fmla="*/ 13 w 14"/>
                <a:gd name="T11" fmla="*/ 11 h 29"/>
                <a:gd name="T12" fmla="*/ 12 w 14"/>
                <a:gd name="T13" fmla="*/ 0 h 29"/>
                <a:gd name="T14" fmla="*/ 12 w 14"/>
                <a:gd name="T15" fmla="*/ 4 h 29"/>
                <a:gd name="T16" fmla="*/ 9 w 14"/>
                <a:gd name="T17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9">
                  <a:moveTo>
                    <a:pt x="9" y="10"/>
                  </a:moveTo>
                  <a:cubicBezTo>
                    <a:pt x="7" y="13"/>
                    <a:pt x="4" y="16"/>
                    <a:pt x="2" y="20"/>
                  </a:cubicBezTo>
                  <a:cubicBezTo>
                    <a:pt x="1" y="23"/>
                    <a:pt x="0" y="26"/>
                    <a:pt x="0" y="29"/>
                  </a:cubicBezTo>
                  <a:cubicBezTo>
                    <a:pt x="0" y="26"/>
                    <a:pt x="3" y="24"/>
                    <a:pt x="5" y="23"/>
                  </a:cubicBezTo>
                  <a:cubicBezTo>
                    <a:pt x="7" y="21"/>
                    <a:pt x="8" y="20"/>
                    <a:pt x="9" y="19"/>
                  </a:cubicBezTo>
                  <a:cubicBezTo>
                    <a:pt x="11" y="16"/>
                    <a:pt x="13" y="14"/>
                    <a:pt x="13" y="11"/>
                  </a:cubicBezTo>
                  <a:cubicBezTo>
                    <a:pt x="14" y="7"/>
                    <a:pt x="13" y="4"/>
                    <a:pt x="12" y="0"/>
                  </a:cubicBezTo>
                  <a:cubicBezTo>
                    <a:pt x="12" y="1"/>
                    <a:pt x="12" y="3"/>
                    <a:pt x="12" y="4"/>
                  </a:cubicBezTo>
                  <a:cubicBezTo>
                    <a:pt x="11" y="6"/>
                    <a:pt x="10" y="8"/>
                    <a:pt x="9" y="1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1" name="任意多边形: 形状 1630"/>
            <p:cNvSpPr/>
            <p:nvPr>
              <p:custDataLst>
                <p:tags r:id="rId223"/>
              </p:custDataLst>
            </p:nvPr>
          </p:nvSpPr>
          <p:spPr bwMode="auto">
            <a:xfrm flipH="1">
              <a:off x="3853924" y="1928688"/>
              <a:ext cx="41030" cy="74791"/>
            </a:xfrm>
            <a:custGeom>
              <a:avLst/>
              <a:gdLst>
                <a:gd name="T0" fmla="*/ 6 w 19"/>
                <a:gd name="T1" fmla="*/ 37 h 37"/>
                <a:gd name="T2" fmla="*/ 7 w 19"/>
                <a:gd name="T3" fmla="*/ 29 h 37"/>
                <a:gd name="T4" fmla="*/ 12 w 19"/>
                <a:gd name="T5" fmla="*/ 22 h 37"/>
                <a:gd name="T6" fmla="*/ 18 w 19"/>
                <a:gd name="T7" fmla="*/ 12 h 37"/>
                <a:gd name="T8" fmla="*/ 17 w 19"/>
                <a:gd name="T9" fmla="*/ 0 h 37"/>
                <a:gd name="T10" fmla="*/ 16 w 19"/>
                <a:gd name="T11" fmla="*/ 2 h 37"/>
                <a:gd name="T12" fmla="*/ 13 w 19"/>
                <a:gd name="T13" fmla="*/ 6 h 37"/>
                <a:gd name="T14" fmla="*/ 2 w 19"/>
                <a:gd name="T15" fmla="*/ 19 h 37"/>
                <a:gd name="T16" fmla="*/ 6 w 19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7">
                  <a:moveTo>
                    <a:pt x="6" y="37"/>
                  </a:moveTo>
                  <a:cubicBezTo>
                    <a:pt x="6" y="34"/>
                    <a:pt x="6" y="31"/>
                    <a:pt x="7" y="29"/>
                  </a:cubicBezTo>
                  <a:cubicBezTo>
                    <a:pt x="8" y="26"/>
                    <a:pt x="10" y="24"/>
                    <a:pt x="12" y="22"/>
                  </a:cubicBezTo>
                  <a:cubicBezTo>
                    <a:pt x="15" y="19"/>
                    <a:pt x="17" y="16"/>
                    <a:pt x="18" y="12"/>
                  </a:cubicBezTo>
                  <a:cubicBezTo>
                    <a:pt x="19" y="8"/>
                    <a:pt x="18" y="4"/>
                    <a:pt x="17" y="0"/>
                  </a:cubicBezTo>
                  <a:cubicBezTo>
                    <a:pt x="17" y="1"/>
                    <a:pt x="16" y="2"/>
                    <a:pt x="16" y="2"/>
                  </a:cubicBezTo>
                  <a:cubicBezTo>
                    <a:pt x="15" y="4"/>
                    <a:pt x="14" y="5"/>
                    <a:pt x="13" y="6"/>
                  </a:cubicBezTo>
                  <a:cubicBezTo>
                    <a:pt x="9" y="10"/>
                    <a:pt x="4" y="13"/>
                    <a:pt x="2" y="19"/>
                  </a:cubicBezTo>
                  <a:cubicBezTo>
                    <a:pt x="0" y="25"/>
                    <a:pt x="1" y="32"/>
                    <a:pt x="6" y="37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2" name="任意多边形: 形状 1631"/>
            <p:cNvSpPr/>
            <p:nvPr>
              <p:custDataLst>
                <p:tags r:id="rId224"/>
              </p:custDataLst>
            </p:nvPr>
          </p:nvSpPr>
          <p:spPr bwMode="auto">
            <a:xfrm flipH="1">
              <a:off x="1914571" y="5364743"/>
              <a:ext cx="118531" cy="111756"/>
            </a:xfrm>
            <a:custGeom>
              <a:avLst/>
              <a:gdLst>
                <a:gd name="T0" fmla="*/ 41 w 55"/>
                <a:gd name="T1" fmla="*/ 51 h 55"/>
                <a:gd name="T2" fmla="*/ 52 w 55"/>
                <a:gd name="T3" fmla="*/ 41 h 55"/>
                <a:gd name="T4" fmla="*/ 55 w 55"/>
                <a:gd name="T5" fmla="*/ 33 h 55"/>
                <a:gd name="T6" fmla="*/ 55 w 55"/>
                <a:gd name="T7" fmla="*/ 22 h 55"/>
                <a:gd name="T8" fmla="*/ 52 w 55"/>
                <a:gd name="T9" fmla="*/ 14 h 55"/>
                <a:gd name="T10" fmla="*/ 41 w 55"/>
                <a:gd name="T11" fmla="*/ 4 h 55"/>
                <a:gd name="T12" fmla="*/ 38 w 55"/>
                <a:gd name="T13" fmla="*/ 2 h 55"/>
                <a:gd name="T14" fmla="*/ 30 w 55"/>
                <a:gd name="T15" fmla="*/ 0 h 55"/>
                <a:gd name="T16" fmla="*/ 31 w 55"/>
                <a:gd name="T17" fmla="*/ 3 h 55"/>
                <a:gd name="T18" fmla="*/ 34 w 55"/>
                <a:gd name="T19" fmla="*/ 3 h 55"/>
                <a:gd name="T20" fmla="*/ 37 w 55"/>
                <a:gd name="T21" fmla="*/ 4 h 55"/>
                <a:gd name="T22" fmla="*/ 36 w 55"/>
                <a:gd name="T23" fmla="*/ 5 h 55"/>
                <a:gd name="T24" fmla="*/ 32 w 55"/>
                <a:gd name="T25" fmla="*/ 6 h 55"/>
                <a:gd name="T26" fmla="*/ 33 w 55"/>
                <a:gd name="T27" fmla="*/ 9 h 55"/>
                <a:gd name="T28" fmla="*/ 35 w 55"/>
                <a:gd name="T29" fmla="*/ 11 h 55"/>
                <a:gd name="T30" fmla="*/ 39 w 55"/>
                <a:gd name="T31" fmla="*/ 6 h 55"/>
                <a:gd name="T32" fmla="*/ 42 w 55"/>
                <a:gd name="T33" fmla="*/ 7 h 55"/>
                <a:gd name="T34" fmla="*/ 44 w 55"/>
                <a:gd name="T35" fmla="*/ 8 h 55"/>
                <a:gd name="T36" fmla="*/ 46 w 55"/>
                <a:gd name="T37" fmla="*/ 12 h 55"/>
                <a:gd name="T38" fmla="*/ 45 w 55"/>
                <a:gd name="T39" fmla="*/ 13 h 55"/>
                <a:gd name="T40" fmla="*/ 43 w 55"/>
                <a:gd name="T41" fmla="*/ 12 h 55"/>
                <a:gd name="T42" fmla="*/ 40 w 55"/>
                <a:gd name="T43" fmla="*/ 13 h 55"/>
                <a:gd name="T44" fmla="*/ 42 w 55"/>
                <a:gd name="T45" fmla="*/ 14 h 55"/>
                <a:gd name="T46" fmla="*/ 37 w 55"/>
                <a:gd name="T47" fmla="*/ 16 h 55"/>
                <a:gd name="T48" fmla="*/ 34 w 55"/>
                <a:gd name="T49" fmla="*/ 18 h 55"/>
                <a:gd name="T50" fmla="*/ 30 w 55"/>
                <a:gd name="T51" fmla="*/ 21 h 55"/>
                <a:gd name="T52" fmla="*/ 32 w 55"/>
                <a:gd name="T53" fmla="*/ 33 h 55"/>
                <a:gd name="T54" fmla="*/ 35 w 55"/>
                <a:gd name="T55" fmla="*/ 34 h 55"/>
                <a:gd name="T56" fmla="*/ 38 w 55"/>
                <a:gd name="T57" fmla="*/ 35 h 55"/>
                <a:gd name="T58" fmla="*/ 43 w 55"/>
                <a:gd name="T59" fmla="*/ 37 h 55"/>
                <a:gd name="T60" fmla="*/ 46 w 55"/>
                <a:gd name="T61" fmla="*/ 40 h 55"/>
                <a:gd name="T62" fmla="*/ 50 w 55"/>
                <a:gd name="T63" fmla="*/ 41 h 55"/>
                <a:gd name="T64" fmla="*/ 32 w 55"/>
                <a:gd name="T65" fmla="*/ 48 h 55"/>
                <a:gd name="T66" fmla="*/ 1 w 55"/>
                <a:gd name="T67" fmla="*/ 24 h 55"/>
                <a:gd name="T68" fmla="*/ 1 w 55"/>
                <a:gd name="T69" fmla="*/ 35 h 55"/>
                <a:gd name="T70" fmla="*/ 6 w 55"/>
                <a:gd name="T71" fmla="*/ 45 h 55"/>
                <a:gd name="T72" fmla="*/ 18 w 55"/>
                <a:gd name="T73" fmla="*/ 53 h 55"/>
                <a:gd name="T74" fmla="*/ 28 w 55"/>
                <a:gd name="T75" fmla="*/ 44 h 55"/>
                <a:gd name="T76" fmla="*/ 27 w 55"/>
                <a:gd name="T77" fmla="*/ 39 h 55"/>
                <a:gd name="T78" fmla="*/ 29 w 55"/>
                <a:gd name="T79" fmla="*/ 35 h 55"/>
                <a:gd name="T80" fmla="*/ 25 w 55"/>
                <a:gd name="T81" fmla="*/ 34 h 55"/>
                <a:gd name="T82" fmla="*/ 22 w 55"/>
                <a:gd name="T83" fmla="*/ 32 h 55"/>
                <a:gd name="T84" fmla="*/ 16 w 55"/>
                <a:gd name="T85" fmla="*/ 29 h 55"/>
                <a:gd name="T86" fmla="*/ 14 w 55"/>
                <a:gd name="T87" fmla="*/ 25 h 55"/>
                <a:gd name="T88" fmla="*/ 12 w 55"/>
                <a:gd name="T89" fmla="*/ 24 h 55"/>
                <a:gd name="T90" fmla="*/ 12 w 55"/>
                <a:gd name="T91" fmla="*/ 25 h 55"/>
                <a:gd name="T92" fmla="*/ 10 w 55"/>
                <a:gd name="T93" fmla="*/ 21 h 55"/>
                <a:gd name="T94" fmla="*/ 10 w 55"/>
                <a:gd name="T95" fmla="*/ 16 h 55"/>
                <a:gd name="T96" fmla="*/ 12 w 55"/>
                <a:gd name="T97" fmla="*/ 11 h 55"/>
                <a:gd name="T98" fmla="*/ 12 w 55"/>
                <a:gd name="T99" fmla="*/ 8 h 55"/>
                <a:gd name="T100" fmla="*/ 25 w 55"/>
                <a:gd name="T101" fmla="*/ 2 h 55"/>
                <a:gd name="T102" fmla="*/ 30 w 55"/>
                <a:gd name="T103" fmla="*/ 0 h 55"/>
                <a:gd name="T104" fmla="*/ 17 w 55"/>
                <a:gd name="T105" fmla="*/ 2 h 55"/>
                <a:gd name="T106" fmla="*/ 8 w 55"/>
                <a:gd name="T107" fmla="*/ 8 h 55"/>
                <a:gd name="T108" fmla="*/ 2 w 55"/>
                <a:gd name="T109" fmla="*/ 18 h 55"/>
                <a:gd name="T110" fmla="*/ 29 w 55"/>
                <a:gd name="T111" fmla="*/ 35 h 55"/>
                <a:gd name="T112" fmla="*/ 26 w 55"/>
                <a:gd name="T113" fmla="*/ 31 h 55"/>
                <a:gd name="T114" fmla="*/ 25 w 55"/>
                <a:gd name="T115" fmla="*/ 28 h 55"/>
                <a:gd name="T116" fmla="*/ 20 w 55"/>
                <a:gd name="T117" fmla="*/ 29 h 55"/>
                <a:gd name="T118" fmla="*/ 22 w 55"/>
                <a:gd name="T119" fmla="*/ 23 h 55"/>
                <a:gd name="T120" fmla="*/ 27 w 55"/>
                <a:gd name="T121" fmla="*/ 23 h 55"/>
                <a:gd name="T122" fmla="*/ 29 w 55"/>
                <a:gd name="T123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55">
                  <a:moveTo>
                    <a:pt x="30" y="55"/>
                  </a:moveTo>
                  <a:cubicBezTo>
                    <a:pt x="31" y="55"/>
                    <a:pt x="33" y="55"/>
                    <a:pt x="34" y="54"/>
                  </a:cubicBezTo>
                  <a:cubicBezTo>
                    <a:pt x="35" y="54"/>
                    <a:pt x="36" y="54"/>
                    <a:pt x="37" y="54"/>
                  </a:cubicBezTo>
                  <a:cubicBezTo>
                    <a:pt x="37" y="54"/>
                    <a:pt x="37" y="53"/>
                    <a:pt x="38" y="53"/>
                  </a:cubicBezTo>
                  <a:cubicBezTo>
                    <a:pt x="39" y="53"/>
                    <a:pt x="39" y="53"/>
                    <a:pt x="40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3" y="50"/>
                    <a:pt x="45" y="49"/>
                    <a:pt x="46" y="48"/>
                  </a:cubicBezTo>
                  <a:cubicBezTo>
                    <a:pt x="47" y="48"/>
                    <a:pt x="47" y="47"/>
                    <a:pt x="47" y="47"/>
                  </a:cubicBezTo>
                  <a:cubicBezTo>
                    <a:pt x="47" y="47"/>
                    <a:pt x="48" y="46"/>
                    <a:pt x="48" y="46"/>
                  </a:cubicBezTo>
                  <a:cubicBezTo>
                    <a:pt x="49" y="46"/>
                    <a:pt x="49" y="45"/>
                    <a:pt x="49" y="45"/>
                  </a:cubicBezTo>
                  <a:cubicBezTo>
                    <a:pt x="50" y="44"/>
                    <a:pt x="51" y="43"/>
                    <a:pt x="51" y="42"/>
                  </a:cubicBezTo>
                  <a:cubicBezTo>
                    <a:pt x="51" y="42"/>
                    <a:pt x="51" y="42"/>
                    <a:pt x="52" y="41"/>
                  </a:cubicBezTo>
                  <a:cubicBezTo>
                    <a:pt x="52" y="41"/>
                    <a:pt x="52" y="41"/>
                    <a:pt x="52" y="40"/>
                  </a:cubicBezTo>
                  <a:cubicBezTo>
                    <a:pt x="52" y="40"/>
                    <a:pt x="52" y="40"/>
                    <a:pt x="53" y="40"/>
                  </a:cubicBezTo>
                  <a:cubicBezTo>
                    <a:pt x="53" y="39"/>
                    <a:pt x="53" y="39"/>
                    <a:pt x="53" y="38"/>
                  </a:cubicBezTo>
                  <a:cubicBezTo>
                    <a:pt x="53" y="38"/>
                    <a:pt x="53" y="38"/>
                    <a:pt x="54" y="37"/>
                  </a:cubicBezTo>
                  <a:cubicBezTo>
                    <a:pt x="54" y="36"/>
                    <a:pt x="54" y="35"/>
                    <a:pt x="54" y="35"/>
                  </a:cubicBezTo>
                  <a:cubicBezTo>
                    <a:pt x="54" y="34"/>
                    <a:pt x="55" y="34"/>
                    <a:pt x="55" y="33"/>
                  </a:cubicBezTo>
                  <a:cubicBezTo>
                    <a:pt x="55" y="33"/>
                    <a:pt x="55" y="32"/>
                    <a:pt x="55" y="32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8"/>
                  </a:cubicBezTo>
                  <a:cubicBezTo>
                    <a:pt x="55" y="27"/>
                    <a:pt x="55" y="26"/>
                    <a:pt x="55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5" y="22"/>
                    <a:pt x="54" y="21"/>
                    <a:pt x="54" y="21"/>
                  </a:cubicBezTo>
                  <a:cubicBezTo>
                    <a:pt x="54" y="20"/>
                    <a:pt x="54" y="19"/>
                    <a:pt x="54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2" y="16"/>
                    <a:pt x="52" y="15"/>
                    <a:pt x="52" y="15"/>
                  </a:cubicBezTo>
                  <a:cubicBezTo>
                    <a:pt x="52" y="15"/>
                    <a:pt x="52" y="14"/>
                    <a:pt x="52" y="14"/>
                  </a:cubicBezTo>
                  <a:cubicBezTo>
                    <a:pt x="51" y="13"/>
                    <a:pt x="50" y="12"/>
                    <a:pt x="49" y="11"/>
                  </a:cubicBezTo>
                  <a:cubicBezTo>
                    <a:pt x="49" y="10"/>
                    <a:pt x="49" y="10"/>
                    <a:pt x="48" y="9"/>
                  </a:cubicBezTo>
                  <a:cubicBezTo>
                    <a:pt x="48" y="9"/>
                    <a:pt x="47" y="9"/>
                    <a:pt x="47" y="8"/>
                  </a:cubicBezTo>
                  <a:cubicBezTo>
                    <a:pt x="47" y="8"/>
                    <a:pt x="47" y="8"/>
                    <a:pt x="46" y="7"/>
                  </a:cubicBezTo>
                  <a:cubicBezTo>
                    <a:pt x="46" y="7"/>
                    <a:pt x="45" y="6"/>
                    <a:pt x="44" y="6"/>
                  </a:cubicBezTo>
                  <a:cubicBezTo>
                    <a:pt x="43" y="5"/>
                    <a:pt x="42" y="4"/>
                    <a:pt x="41" y="4"/>
                  </a:cubicBezTo>
                  <a:cubicBezTo>
                    <a:pt x="41" y="4"/>
                    <a:pt x="41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1"/>
                  </a:cubicBezTo>
                  <a:cubicBezTo>
                    <a:pt x="34" y="1"/>
                    <a:pt x="34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1" y="2"/>
                    <a:pt x="32" y="2"/>
                    <a:pt x="33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2" y="3"/>
                    <a:pt x="3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34" y="3"/>
                    <a:pt x="34" y="2"/>
                    <a:pt x="34" y="2"/>
                  </a:cubicBezTo>
                  <a:cubicBezTo>
                    <a:pt x="34" y="2"/>
                    <a:pt x="34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4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3"/>
                    <a:pt x="36" y="3"/>
                    <a:pt x="37" y="3"/>
                  </a:cubicBezTo>
                  <a:cubicBezTo>
                    <a:pt x="37" y="3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7" y="4"/>
                  </a:cubicBezTo>
                  <a:cubicBezTo>
                    <a:pt x="37" y="4"/>
                    <a:pt x="38" y="4"/>
                    <a:pt x="38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5"/>
                    <a:pt x="36" y="6"/>
                    <a:pt x="36" y="5"/>
                  </a:cubicBezTo>
                  <a:cubicBezTo>
                    <a:pt x="36" y="5"/>
                    <a:pt x="37" y="5"/>
                    <a:pt x="37" y="4"/>
                  </a:cubicBezTo>
                  <a:cubicBezTo>
                    <a:pt x="37" y="4"/>
                    <a:pt x="37" y="4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5"/>
                    <a:pt x="34" y="5"/>
                    <a:pt x="34" y="6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9"/>
                    <a:pt x="33" y="9"/>
                  </a:cubicBezTo>
                  <a:cubicBezTo>
                    <a:pt x="33" y="9"/>
                    <a:pt x="33" y="9"/>
                    <a:pt x="34" y="9"/>
                  </a:cubicBezTo>
                  <a:cubicBezTo>
                    <a:pt x="34" y="9"/>
                    <a:pt x="35" y="9"/>
                    <a:pt x="35" y="10"/>
                  </a:cubicBezTo>
                  <a:cubicBezTo>
                    <a:pt x="35" y="10"/>
                    <a:pt x="34" y="10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1"/>
                    <a:pt x="34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0"/>
                    <a:pt x="35" y="10"/>
                    <a:pt x="36" y="10"/>
                  </a:cubicBezTo>
                  <a:cubicBezTo>
                    <a:pt x="37" y="10"/>
                    <a:pt x="38" y="9"/>
                    <a:pt x="38" y="8"/>
                  </a:cubicBezTo>
                  <a:cubicBezTo>
                    <a:pt x="38" y="8"/>
                    <a:pt x="38" y="7"/>
                    <a:pt x="38" y="7"/>
                  </a:cubicBezTo>
                  <a:cubicBezTo>
                    <a:pt x="38" y="7"/>
                    <a:pt x="39" y="7"/>
                    <a:pt x="38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2" y="6"/>
                  </a:cubicBezTo>
                  <a:cubicBezTo>
                    <a:pt x="42" y="6"/>
                    <a:pt x="42" y="6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3" y="8"/>
                    <a:pt x="43" y="8"/>
                  </a:cubicBezTo>
                  <a:cubicBezTo>
                    <a:pt x="43" y="7"/>
                    <a:pt x="43" y="7"/>
                    <a:pt x="44" y="7"/>
                  </a:cubicBezTo>
                  <a:cubicBezTo>
                    <a:pt x="44" y="7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5" y="8"/>
                    <a:pt x="44" y="9"/>
                    <a:pt x="44" y="9"/>
                  </a:cubicBezTo>
                  <a:cubicBezTo>
                    <a:pt x="44" y="9"/>
                    <a:pt x="45" y="9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1"/>
                    <a:pt x="46" y="11"/>
                    <a:pt x="4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6" y="12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4"/>
                    <a:pt x="46" y="14"/>
                  </a:cubicBezTo>
                  <a:cubicBezTo>
                    <a:pt x="46" y="14"/>
                    <a:pt x="46" y="14"/>
                    <a:pt x="45" y="14"/>
                  </a:cubicBezTo>
                  <a:cubicBezTo>
                    <a:pt x="45" y="13"/>
                    <a:pt x="45" y="14"/>
                    <a:pt x="45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4" y="13"/>
                    <a:pt x="44" y="13"/>
                    <a:pt x="43" y="13"/>
                  </a:cubicBezTo>
                  <a:cubicBezTo>
                    <a:pt x="44" y="13"/>
                    <a:pt x="44" y="12"/>
                    <a:pt x="45" y="12"/>
                  </a:cubicBezTo>
                  <a:cubicBezTo>
                    <a:pt x="45" y="12"/>
                    <a:pt x="45" y="12"/>
                    <a:pt x="45" y="11"/>
                  </a:cubicBezTo>
                  <a:cubicBezTo>
                    <a:pt x="45" y="11"/>
                    <a:pt x="44" y="11"/>
                    <a:pt x="44" y="12"/>
                  </a:cubicBezTo>
                  <a:cubicBezTo>
                    <a:pt x="44" y="12"/>
                    <a:pt x="44" y="12"/>
                    <a:pt x="43" y="12"/>
                  </a:cubicBezTo>
                  <a:cubicBezTo>
                    <a:pt x="43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0" y="12"/>
                    <a:pt x="40" y="12"/>
                    <a:pt x="40" y="13"/>
                  </a:cubicBezTo>
                  <a:cubicBezTo>
                    <a:pt x="40" y="13"/>
                    <a:pt x="41" y="12"/>
                    <a:pt x="41" y="13"/>
                  </a:cubicBezTo>
                  <a:cubicBezTo>
                    <a:pt x="41" y="13"/>
                    <a:pt x="40" y="13"/>
                    <a:pt x="40" y="14"/>
                  </a:cubicBezTo>
                  <a:cubicBezTo>
                    <a:pt x="40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4"/>
                    <a:pt x="42" y="15"/>
                    <a:pt x="42" y="15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39" y="16"/>
                    <a:pt x="39" y="15"/>
                  </a:cubicBezTo>
                  <a:cubicBezTo>
                    <a:pt x="39" y="15"/>
                    <a:pt x="39" y="15"/>
                    <a:pt x="40" y="15"/>
                  </a:cubicBezTo>
                  <a:cubicBezTo>
                    <a:pt x="39" y="15"/>
                    <a:pt x="39" y="15"/>
                    <a:pt x="38" y="15"/>
                  </a:cubicBezTo>
                  <a:cubicBezTo>
                    <a:pt x="38" y="15"/>
                    <a:pt x="37" y="15"/>
                    <a:pt x="37" y="16"/>
                  </a:cubicBezTo>
                  <a:cubicBezTo>
                    <a:pt x="36" y="16"/>
                    <a:pt x="37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3" y="19"/>
                    <a:pt x="33" y="19"/>
                  </a:cubicBezTo>
                  <a:cubicBezTo>
                    <a:pt x="33" y="19"/>
                    <a:pt x="33" y="18"/>
                    <a:pt x="33" y="19"/>
                  </a:cubicBezTo>
                  <a:cubicBezTo>
                    <a:pt x="33" y="19"/>
                    <a:pt x="33" y="19"/>
                    <a:pt x="33" y="20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30" y="21"/>
                    <a:pt x="30" y="22"/>
                    <a:pt x="30" y="22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3"/>
                    <a:pt x="31" y="33"/>
                  </a:cubicBezTo>
                  <a:cubicBezTo>
                    <a:pt x="31" y="33"/>
                    <a:pt x="31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2"/>
                    <a:pt x="32" y="33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4"/>
                  </a:cubicBezTo>
                  <a:cubicBezTo>
                    <a:pt x="35" y="34"/>
                    <a:pt x="35" y="33"/>
                    <a:pt x="35" y="34"/>
                  </a:cubicBezTo>
                  <a:cubicBezTo>
                    <a:pt x="35" y="34"/>
                    <a:pt x="36" y="34"/>
                    <a:pt x="36" y="34"/>
                  </a:cubicBezTo>
                  <a:cubicBezTo>
                    <a:pt x="36" y="34"/>
                    <a:pt x="36" y="33"/>
                    <a:pt x="36" y="33"/>
                  </a:cubicBezTo>
                  <a:cubicBezTo>
                    <a:pt x="37" y="33"/>
                    <a:pt x="37" y="34"/>
                    <a:pt x="37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5"/>
                  </a:cubicBezTo>
                  <a:cubicBezTo>
                    <a:pt x="38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2" y="36"/>
                    <a:pt x="42" y="36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8"/>
                    <a:pt x="43" y="38"/>
                  </a:cubicBezTo>
                  <a:cubicBezTo>
                    <a:pt x="43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6" y="40"/>
                    <a:pt x="46" y="40"/>
                  </a:cubicBezTo>
                  <a:cubicBezTo>
                    <a:pt x="46" y="40"/>
                    <a:pt x="46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50" y="41"/>
                    <a:pt x="50" y="41"/>
                  </a:cubicBezTo>
                  <a:cubicBezTo>
                    <a:pt x="46" y="47"/>
                    <a:pt x="41" y="51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1"/>
                    <a:pt x="34" y="51"/>
                  </a:cubicBezTo>
                  <a:cubicBezTo>
                    <a:pt x="34" y="50"/>
                    <a:pt x="34" y="50"/>
                    <a:pt x="33" y="49"/>
                  </a:cubicBezTo>
                  <a:cubicBezTo>
                    <a:pt x="33" y="49"/>
                    <a:pt x="33" y="49"/>
                    <a:pt x="32" y="49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0" y="48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6"/>
                    <a:pt x="30" y="46"/>
                    <a:pt x="30" y="46"/>
                  </a:cubicBezTo>
                  <a:lnTo>
                    <a:pt x="30" y="55"/>
                  </a:lnTo>
                  <a:close/>
                  <a:moveTo>
                    <a:pt x="1" y="22"/>
                  </a:moveTo>
                  <a:cubicBezTo>
                    <a:pt x="1" y="23"/>
                    <a:pt x="1" y="23"/>
                    <a:pt x="1" y="24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0" y="29"/>
                    <a:pt x="0" y="30"/>
                    <a:pt x="1" y="30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4"/>
                    <a:pt x="1" y="34"/>
                    <a:pt x="1" y="35"/>
                  </a:cubicBezTo>
                  <a:cubicBezTo>
                    <a:pt x="1" y="35"/>
                    <a:pt x="2" y="36"/>
                    <a:pt x="2" y="37"/>
                  </a:cubicBezTo>
                  <a:cubicBezTo>
                    <a:pt x="2" y="38"/>
                    <a:pt x="2" y="38"/>
                    <a:pt x="3" y="38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5" y="42"/>
                    <a:pt x="5" y="44"/>
                    <a:pt x="6" y="45"/>
                  </a:cubicBezTo>
                  <a:cubicBezTo>
                    <a:pt x="7" y="45"/>
                    <a:pt x="7" y="46"/>
                    <a:pt x="7" y="46"/>
                  </a:cubicBezTo>
                  <a:cubicBezTo>
                    <a:pt x="8" y="46"/>
                    <a:pt x="8" y="47"/>
                    <a:pt x="8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1" y="49"/>
                    <a:pt x="12" y="50"/>
                    <a:pt x="14" y="51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3"/>
                    <a:pt x="17" y="53"/>
                    <a:pt x="18" y="53"/>
                  </a:cubicBezTo>
                  <a:cubicBezTo>
                    <a:pt x="18" y="53"/>
                    <a:pt x="19" y="54"/>
                    <a:pt x="19" y="54"/>
                  </a:cubicBezTo>
                  <a:cubicBezTo>
                    <a:pt x="22" y="55"/>
                    <a:pt x="25" y="55"/>
                    <a:pt x="28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29" y="46"/>
                    <a:pt x="29" y="46"/>
                  </a:cubicBezTo>
                  <a:cubicBezTo>
                    <a:pt x="29" y="45"/>
                    <a:pt x="29" y="44"/>
                    <a:pt x="28" y="44"/>
                  </a:cubicBezTo>
                  <a:cubicBezTo>
                    <a:pt x="28" y="44"/>
                    <a:pt x="28" y="43"/>
                    <a:pt x="28" y="43"/>
                  </a:cubicBezTo>
                  <a:cubicBezTo>
                    <a:pt x="28" y="43"/>
                    <a:pt x="27" y="43"/>
                    <a:pt x="27" y="4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8" y="41"/>
                    <a:pt x="27" y="41"/>
                    <a:pt x="27" y="40"/>
                  </a:cubicBezTo>
                  <a:cubicBezTo>
                    <a:pt x="27" y="40"/>
                    <a:pt x="27" y="40"/>
                    <a:pt x="27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9" y="35"/>
                    <a:pt x="29" y="34"/>
                    <a:pt x="28" y="34"/>
                  </a:cubicBezTo>
                  <a:cubicBezTo>
                    <a:pt x="28" y="34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4"/>
                    <a:pt x="25" y="33"/>
                    <a:pt x="25" y="33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4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31"/>
                    <a:pt x="21" y="30"/>
                    <a:pt x="20" y="30"/>
                  </a:cubicBezTo>
                  <a:cubicBezTo>
                    <a:pt x="20" y="30"/>
                    <a:pt x="20" y="31"/>
                    <a:pt x="19" y="31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8" y="30"/>
                    <a:pt x="18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5" y="29"/>
                    <a:pt x="15" y="29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7"/>
                    <a:pt x="15" y="27"/>
                    <a:pt x="14" y="26"/>
                  </a:cubicBezTo>
                  <a:cubicBezTo>
                    <a:pt x="14" y="26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3" y="24"/>
                    <a:pt x="13" y="24"/>
                  </a:cubicBezTo>
                  <a:cubicBezTo>
                    <a:pt x="13" y="24"/>
                    <a:pt x="13" y="24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2" y="22"/>
                    <a:pt x="12" y="22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3" y="25"/>
                    <a:pt x="13" y="25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6"/>
                    <a:pt x="13" y="26"/>
                    <a:pt x="13" y="27"/>
                  </a:cubicBezTo>
                  <a:cubicBezTo>
                    <a:pt x="13" y="27"/>
                    <a:pt x="13" y="26"/>
                    <a:pt x="13" y="26"/>
                  </a:cubicBezTo>
                  <a:cubicBezTo>
                    <a:pt x="13" y="26"/>
                    <a:pt x="12" y="26"/>
                    <a:pt x="12" y="26"/>
                  </a:cubicBezTo>
                  <a:cubicBezTo>
                    <a:pt x="12" y="26"/>
                    <a:pt x="12" y="25"/>
                    <a:pt x="12" y="25"/>
                  </a:cubicBezTo>
                  <a:cubicBezTo>
                    <a:pt x="12" y="25"/>
                    <a:pt x="11" y="25"/>
                    <a:pt x="11" y="24"/>
                  </a:cubicBezTo>
                  <a:cubicBezTo>
                    <a:pt x="11" y="24"/>
                    <a:pt x="12" y="24"/>
                    <a:pt x="12" y="24"/>
                  </a:cubicBezTo>
                  <a:cubicBezTo>
                    <a:pt x="12" y="23"/>
                    <a:pt x="11" y="23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1" y="22"/>
                    <a:pt x="11" y="21"/>
                    <a:pt x="11" y="21"/>
                  </a:cubicBezTo>
                  <a:cubicBezTo>
                    <a:pt x="11" y="21"/>
                    <a:pt x="11" y="21"/>
                    <a:pt x="10" y="21"/>
                  </a:cubicBezTo>
                  <a:cubicBezTo>
                    <a:pt x="10" y="21"/>
                    <a:pt x="10" y="21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19"/>
                    <a:pt x="10" y="19"/>
                    <a:pt x="10" y="18"/>
                  </a:cubicBezTo>
                  <a:cubicBezTo>
                    <a:pt x="10" y="18"/>
                    <a:pt x="9" y="18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5"/>
                    <a:pt x="11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5" y="5"/>
                    <a:pt x="19" y="3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5" y="2"/>
                    <a:pt x="25" y="2"/>
                  </a:cubicBezTo>
                  <a:cubicBezTo>
                    <a:pt x="26" y="2"/>
                    <a:pt x="26" y="3"/>
                    <a:pt x="27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8" y="2"/>
                    <a:pt x="28" y="2"/>
                  </a:cubicBezTo>
                  <a:cubicBezTo>
                    <a:pt x="28" y="2"/>
                    <a:pt x="29" y="2"/>
                    <a:pt x="30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9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4" y="0"/>
                    <a:pt x="22" y="1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7" y="2"/>
                    <a:pt x="17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4"/>
                    <a:pt x="14" y="4"/>
                  </a:cubicBezTo>
                  <a:cubicBezTo>
                    <a:pt x="13" y="5"/>
                    <a:pt x="11" y="6"/>
                    <a:pt x="10" y="7"/>
                  </a:cubicBezTo>
                  <a:cubicBezTo>
                    <a:pt x="10" y="7"/>
                    <a:pt x="10" y="7"/>
                    <a:pt x="9" y="7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7" y="10"/>
                    <a:pt x="7" y="10"/>
                    <a:pt x="6" y="11"/>
                  </a:cubicBezTo>
                  <a:cubicBezTo>
                    <a:pt x="5" y="12"/>
                    <a:pt x="5" y="13"/>
                    <a:pt x="4" y="14"/>
                  </a:cubicBezTo>
                  <a:cubicBezTo>
                    <a:pt x="4" y="14"/>
                    <a:pt x="4" y="15"/>
                    <a:pt x="3" y="15"/>
                  </a:cubicBezTo>
                  <a:cubicBezTo>
                    <a:pt x="3" y="15"/>
                    <a:pt x="3" y="16"/>
                    <a:pt x="3" y="16"/>
                  </a:cubicBezTo>
                  <a:cubicBezTo>
                    <a:pt x="3" y="16"/>
                    <a:pt x="3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lose/>
                  <a:moveTo>
                    <a:pt x="30" y="22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28" y="34"/>
                    <a:pt x="28" y="34"/>
                    <a:pt x="27" y="34"/>
                  </a:cubicBezTo>
                  <a:cubicBezTo>
                    <a:pt x="27" y="34"/>
                    <a:pt x="26" y="34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26" y="32"/>
                    <a:pt x="26" y="32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28"/>
                    <a:pt x="25" y="28"/>
                    <a:pt x="24" y="28"/>
                  </a:cubicBezTo>
                  <a:cubicBezTo>
                    <a:pt x="24" y="28"/>
                    <a:pt x="24" y="28"/>
                    <a:pt x="23" y="28"/>
                  </a:cubicBezTo>
                  <a:cubicBezTo>
                    <a:pt x="23" y="28"/>
                    <a:pt x="23" y="29"/>
                    <a:pt x="22" y="29"/>
                  </a:cubicBezTo>
                  <a:cubicBezTo>
                    <a:pt x="22" y="29"/>
                    <a:pt x="22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0" y="29"/>
                    <a:pt x="20" y="29"/>
                  </a:cubicBezTo>
                  <a:cubicBezTo>
                    <a:pt x="20" y="29"/>
                    <a:pt x="19" y="28"/>
                    <a:pt x="19" y="28"/>
                  </a:cubicBezTo>
                  <a:cubicBezTo>
                    <a:pt x="19" y="27"/>
                    <a:pt x="19" y="26"/>
                    <a:pt x="20" y="26"/>
                  </a:cubicBezTo>
                  <a:cubicBezTo>
                    <a:pt x="20" y="26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6" y="23"/>
                    <a:pt x="26" y="23"/>
                  </a:cubicBezTo>
                  <a:cubicBezTo>
                    <a:pt x="26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3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5"/>
                    <a:pt x="29" y="25"/>
                    <a:pt x="29" y="25"/>
                  </a:cubicBezTo>
                  <a:cubicBezTo>
                    <a:pt x="29" y="25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30" y="2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3" name="任意多边形: 形状 1632"/>
            <p:cNvSpPr/>
            <p:nvPr>
              <p:custDataLst>
                <p:tags r:id="rId225"/>
              </p:custDataLst>
            </p:nvPr>
          </p:nvSpPr>
          <p:spPr bwMode="auto">
            <a:xfrm flipH="1">
              <a:off x="2546433" y="4616841"/>
              <a:ext cx="116708" cy="97142"/>
            </a:xfrm>
            <a:custGeom>
              <a:avLst/>
              <a:gdLst>
                <a:gd name="T0" fmla="*/ 6 w 54"/>
                <a:gd name="T1" fmla="*/ 5 h 48"/>
                <a:gd name="T2" fmla="*/ 1 w 54"/>
                <a:gd name="T3" fmla="*/ 15 h 48"/>
                <a:gd name="T4" fmla="*/ 0 w 54"/>
                <a:gd name="T5" fmla="*/ 18 h 48"/>
                <a:gd name="T6" fmla="*/ 0 w 54"/>
                <a:gd name="T7" fmla="*/ 18 h 48"/>
                <a:gd name="T8" fmla="*/ 0 w 54"/>
                <a:gd name="T9" fmla="*/ 21 h 48"/>
                <a:gd name="T10" fmla="*/ 1 w 54"/>
                <a:gd name="T11" fmla="*/ 23 h 48"/>
                <a:gd name="T12" fmla="*/ 3 w 54"/>
                <a:gd name="T13" fmla="*/ 32 h 48"/>
                <a:gd name="T14" fmla="*/ 8 w 54"/>
                <a:gd name="T15" fmla="*/ 42 h 48"/>
                <a:gd name="T16" fmla="*/ 9 w 54"/>
                <a:gd name="T17" fmla="*/ 43 h 48"/>
                <a:gd name="T18" fmla="*/ 12 w 54"/>
                <a:gd name="T19" fmla="*/ 46 h 48"/>
                <a:gd name="T20" fmla="*/ 13 w 54"/>
                <a:gd name="T21" fmla="*/ 47 h 48"/>
                <a:gd name="T22" fmla="*/ 19 w 54"/>
                <a:gd name="T23" fmla="*/ 48 h 48"/>
                <a:gd name="T24" fmla="*/ 19 w 54"/>
                <a:gd name="T25" fmla="*/ 48 h 48"/>
                <a:gd name="T26" fmla="*/ 22 w 54"/>
                <a:gd name="T27" fmla="*/ 47 h 48"/>
                <a:gd name="T28" fmla="*/ 24 w 54"/>
                <a:gd name="T29" fmla="*/ 46 h 48"/>
                <a:gd name="T30" fmla="*/ 27 w 54"/>
                <a:gd name="T31" fmla="*/ 46 h 48"/>
                <a:gd name="T32" fmla="*/ 27 w 54"/>
                <a:gd name="T33" fmla="*/ 46 h 48"/>
                <a:gd name="T34" fmla="*/ 30 w 54"/>
                <a:gd name="T35" fmla="*/ 46 h 48"/>
                <a:gd name="T36" fmla="*/ 32 w 54"/>
                <a:gd name="T37" fmla="*/ 47 h 48"/>
                <a:gd name="T38" fmla="*/ 35 w 54"/>
                <a:gd name="T39" fmla="*/ 48 h 48"/>
                <a:gd name="T40" fmla="*/ 35 w 54"/>
                <a:gd name="T41" fmla="*/ 48 h 48"/>
                <a:gd name="T42" fmla="*/ 41 w 54"/>
                <a:gd name="T43" fmla="*/ 47 h 48"/>
                <a:gd name="T44" fmla="*/ 42 w 54"/>
                <a:gd name="T45" fmla="*/ 46 h 48"/>
                <a:gd name="T46" fmla="*/ 45 w 54"/>
                <a:gd name="T47" fmla="*/ 43 h 48"/>
                <a:gd name="T48" fmla="*/ 46 w 54"/>
                <a:gd name="T49" fmla="*/ 42 h 48"/>
                <a:gd name="T50" fmla="*/ 51 w 54"/>
                <a:gd name="T51" fmla="*/ 32 h 48"/>
                <a:gd name="T52" fmla="*/ 53 w 54"/>
                <a:gd name="T53" fmla="*/ 23 h 48"/>
                <a:gd name="T54" fmla="*/ 54 w 54"/>
                <a:gd name="T55" fmla="*/ 21 h 48"/>
                <a:gd name="T56" fmla="*/ 54 w 54"/>
                <a:gd name="T57" fmla="*/ 18 h 48"/>
                <a:gd name="T58" fmla="*/ 54 w 54"/>
                <a:gd name="T59" fmla="*/ 18 h 48"/>
                <a:gd name="T60" fmla="*/ 53 w 54"/>
                <a:gd name="T61" fmla="*/ 15 h 48"/>
                <a:gd name="T62" fmla="*/ 48 w 54"/>
                <a:gd name="T63" fmla="*/ 5 h 48"/>
                <a:gd name="T64" fmla="*/ 47 w 54"/>
                <a:gd name="T65" fmla="*/ 4 h 48"/>
                <a:gd name="T66" fmla="*/ 40 w 54"/>
                <a:gd name="T67" fmla="*/ 1 h 48"/>
                <a:gd name="T68" fmla="*/ 31 w 54"/>
                <a:gd name="T69" fmla="*/ 2 h 48"/>
                <a:gd name="T70" fmla="*/ 27 w 54"/>
                <a:gd name="T71" fmla="*/ 4 h 48"/>
                <a:gd name="T72" fmla="*/ 23 w 54"/>
                <a:gd name="T73" fmla="*/ 2 h 48"/>
                <a:gd name="T74" fmla="*/ 14 w 54"/>
                <a:gd name="T75" fmla="*/ 1 h 48"/>
                <a:gd name="T76" fmla="*/ 7 w 54"/>
                <a:gd name="T77" fmla="*/ 4 h 48"/>
                <a:gd name="T78" fmla="*/ 6 w 54"/>
                <a:gd name="T79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4" h="48">
                  <a:moveTo>
                    <a:pt x="6" y="5"/>
                  </a:moveTo>
                  <a:cubicBezTo>
                    <a:pt x="3" y="8"/>
                    <a:pt x="1" y="11"/>
                    <a:pt x="1" y="15"/>
                  </a:cubicBezTo>
                  <a:cubicBezTo>
                    <a:pt x="1" y="16"/>
                    <a:pt x="1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0" y="22"/>
                    <a:pt x="1" y="22"/>
                    <a:pt x="1" y="23"/>
                  </a:cubicBezTo>
                  <a:cubicBezTo>
                    <a:pt x="1" y="26"/>
                    <a:pt x="2" y="29"/>
                    <a:pt x="3" y="32"/>
                  </a:cubicBezTo>
                  <a:cubicBezTo>
                    <a:pt x="4" y="35"/>
                    <a:pt x="6" y="39"/>
                    <a:pt x="8" y="42"/>
                  </a:cubicBezTo>
                  <a:cubicBezTo>
                    <a:pt x="8" y="42"/>
                    <a:pt x="9" y="42"/>
                    <a:pt x="9" y="43"/>
                  </a:cubicBezTo>
                  <a:cubicBezTo>
                    <a:pt x="10" y="44"/>
                    <a:pt x="11" y="45"/>
                    <a:pt x="12" y="46"/>
                  </a:cubicBezTo>
                  <a:cubicBezTo>
                    <a:pt x="12" y="47"/>
                    <a:pt x="13" y="47"/>
                    <a:pt x="13" y="47"/>
                  </a:cubicBezTo>
                  <a:cubicBezTo>
                    <a:pt x="15" y="48"/>
                    <a:pt x="17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0" y="47"/>
                    <a:pt x="21" y="47"/>
                    <a:pt x="22" y="47"/>
                  </a:cubicBezTo>
                  <a:cubicBezTo>
                    <a:pt x="22" y="47"/>
                    <a:pt x="23" y="46"/>
                    <a:pt x="24" y="46"/>
                  </a:cubicBezTo>
                  <a:cubicBezTo>
                    <a:pt x="25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8" y="46"/>
                    <a:pt x="29" y="46"/>
                    <a:pt x="30" y="46"/>
                  </a:cubicBezTo>
                  <a:cubicBezTo>
                    <a:pt x="31" y="46"/>
                    <a:pt x="32" y="47"/>
                    <a:pt x="32" y="47"/>
                  </a:cubicBezTo>
                  <a:cubicBezTo>
                    <a:pt x="33" y="47"/>
                    <a:pt x="34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7" y="48"/>
                    <a:pt x="39" y="48"/>
                    <a:pt x="41" y="47"/>
                  </a:cubicBezTo>
                  <a:cubicBezTo>
                    <a:pt x="41" y="47"/>
                    <a:pt x="42" y="47"/>
                    <a:pt x="42" y="46"/>
                  </a:cubicBezTo>
                  <a:cubicBezTo>
                    <a:pt x="43" y="45"/>
                    <a:pt x="44" y="44"/>
                    <a:pt x="45" y="43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8" y="39"/>
                    <a:pt x="50" y="35"/>
                    <a:pt x="51" y="32"/>
                  </a:cubicBezTo>
                  <a:cubicBezTo>
                    <a:pt x="52" y="29"/>
                    <a:pt x="53" y="26"/>
                    <a:pt x="53" y="23"/>
                  </a:cubicBezTo>
                  <a:cubicBezTo>
                    <a:pt x="54" y="22"/>
                    <a:pt x="54" y="22"/>
                    <a:pt x="54" y="21"/>
                  </a:cubicBezTo>
                  <a:cubicBezTo>
                    <a:pt x="54" y="20"/>
                    <a:pt x="54" y="19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3" y="17"/>
                    <a:pt x="53" y="16"/>
                    <a:pt x="53" y="15"/>
                  </a:cubicBezTo>
                  <a:cubicBezTo>
                    <a:pt x="53" y="11"/>
                    <a:pt x="51" y="8"/>
                    <a:pt x="48" y="5"/>
                  </a:cubicBezTo>
                  <a:cubicBezTo>
                    <a:pt x="48" y="5"/>
                    <a:pt x="47" y="4"/>
                    <a:pt x="47" y="4"/>
                  </a:cubicBezTo>
                  <a:cubicBezTo>
                    <a:pt x="45" y="2"/>
                    <a:pt x="42" y="1"/>
                    <a:pt x="40" y="1"/>
                  </a:cubicBezTo>
                  <a:cubicBezTo>
                    <a:pt x="37" y="0"/>
                    <a:pt x="34" y="1"/>
                    <a:pt x="31" y="2"/>
                  </a:cubicBezTo>
                  <a:cubicBezTo>
                    <a:pt x="30" y="3"/>
                    <a:pt x="27" y="4"/>
                    <a:pt x="27" y="4"/>
                  </a:cubicBezTo>
                  <a:cubicBezTo>
                    <a:pt x="27" y="4"/>
                    <a:pt x="24" y="3"/>
                    <a:pt x="23" y="2"/>
                  </a:cubicBezTo>
                  <a:cubicBezTo>
                    <a:pt x="20" y="1"/>
                    <a:pt x="17" y="0"/>
                    <a:pt x="14" y="1"/>
                  </a:cubicBezTo>
                  <a:cubicBezTo>
                    <a:pt x="12" y="1"/>
                    <a:pt x="9" y="2"/>
                    <a:pt x="7" y="4"/>
                  </a:cubicBezTo>
                  <a:cubicBezTo>
                    <a:pt x="7" y="4"/>
                    <a:pt x="6" y="5"/>
                    <a:pt x="6" y="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4" name="任意多边形: 形状 1633"/>
            <p:cNvSpPr/>
            <p:nvPr>
              <p:custDataLst>
                <p:tags r:id="rId226"/>
              </p:custDataLst>
            </p:nvPr>
          </p:nvSpPr>
          <p:spPr bwMode="auto">
            <a:xfrm flipH="1">
              <a:off x="2604787" y="4587612"/>
              <a:ext cx="28265" cy="29228"/>
            </a:xfrm>
            <a:custGeom>
              <a:avLst/>
              <a:gdLst>
                <a:gd name="T0" fmla="*/ 4 w 13"/>
                <a:gd name="T1" fmla="*/ 10 h 14"/>
                <a:gd name="T2" fmla="*/ 10 w 13"/>
                <a:gd name="T3" fmla="*/ 14 h 14"/>
                <a:gd name="T4" fmla="*/ 13 w 13"/>
                <a:gd name="T5" fmla="*/ 14 h 14"/>
                <a:gd name="T6" fmla="*/ 13 w 13"/>
                <a:gd name="T7" fmla="*/ 14 h 14"/>
                <a:gd name="T8" fmla="*/ 10 w 13"/>
                <a:gd name="T9" fmla="*/ 5 h 14"/>
                <a:gd name="T10" fmla="*/ 1 w 13"/>
                <a:gd name="T11" fmla="*/ 0 h 14"/>
                <a:gd name="T12" fmla="*/ 1 w 13"/>
                <a:gd name="T13" fmla="*/ 0 h 14"/>
                <a:gd name="T14" fmla="*/ 0 w 13"/>
                <a:gd name="T15" fmla="*/ 0 h 14"/>
                <a:gd name="T16" fmla="*/ 1 w 13"/>
                <a:gd name="T17" fmla="*/ 3 h 14"/>
                <a:gd name="T18" fmla="*/ 4 w 13"/>
                <a:gd name="T1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">
                  <a:moveTo>
                    <a:pt x="4" y="10"/>
                  </a:moveTo>
                  <a:cubicBezTo>
                    <a:pt x="6" y="12"/>
                    <a:pt x="7" y="13"/>
                    <a:pt x="10" y="14"/>
                  </a:cubicBezTo>
                  <a:cubicBezTo>
                    <a:pt x="11" y="14"/>
                    <a:pt x="12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1"/>
                    <a:pt x="12" y="8"/>
                    <a:pt x="10" y="5"/>
                  </a:cubicBezTo>
                  <a:cubicBezTo>
                    <a:pt x="8" y="2"/>
                    <a:pt x="5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6"/>
                    <a:pt x="2" y="8"/>
                    <a:pt x="4" y="1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5" name="矩形 1634"/>
            <p:cNvSpPr/>
            <p:nvPr>
              <p:custDataLst>
                <p:tags r:id="rId227"/>
              </p:custDataLst>
            </p:nvPr>
          </p:nvSpPr>
          <p:spPr bwMode="auto">
            <a:xfrm flipH="1">
              <a:off x="4164841" y="2761698"/>
              <a:ext cx="23706" cy="1031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6" name="任意多边形: 形状 1635"/>
            <p:cNvSpPr/>
            <p:nvPr>
              <p:custDataLst>
                <p:tags r:id="rId228"/>
              </p:custDataLst>
            </p:nvPr>
          </p:nvSpPr>
          <p:spPr bwMode="auto">
            <a:xfrm flipH="1">
              <a:off x="4149341" y="2776312"/>
              <a:ext cx="127649" cy="85106"/>
            </a:xfrm>
            <a:custGeom>
              <a:avLst/>
              <a:gdLst>
                <a:gd name="T0" fmla="*/ 30 w 59"/>
                <a:gd name="T1" fmla="*/ 42 h 42"/>
                <a:gd name="T2" fmla="*/ 59 w 59"/>
                <a:gd name="T3" fmla="*/ 42 h 42"/>
                <a:gd name="T4" fmla="*/ 59 w 59"/>
                <a:gd name="T5" fmla="*/ 0 h 42"/>
                <a:gd name="T6" fmla="*/ 30 w 59"/>
                <a:gd name="T7" fmla="*/ 0 h 42"/>
                <a:gd name="T8" fmla="*/ 30 w 59"/>
                <a:gd name="T9" fmla="*/ 4 h 42"/>
                <a:gd name="T10" fmla="*/ 46 w 59"/>
                <a:gd name="T11" fmla="*/ 21 h 42"/>
                <a:gd name="T12" fmla="*/ 30 w 59"/>
                <a:gd name="T13" fmla="*/ 37 h 42"/>
                <a:gd name="T14" fmla="*/ 30 w 59"/>
                <a:gd name="T15" fmla="*/ 42 h 42"/>
                <a:gd name="T16" fmla="*/ 0 w 59"/>
                <a:gd name="T17" fmla="*/ 42 h 42"/>
                <a:gd name="T18" fmla="*/ 30 w 59"/>
                <a:gd name="T19" fmla="*/ 42 h 42"/>
                <a:gd name="T20" fmla="*/ 30 w 59"/>
                <a:gd name="T21" fmla="*/ 37 h 42"/>
                <a:gd name="T22" fmla="*/ 30 w 59"/>
                <a:gd name="T23" fmla="*/ 37 h 42"/>
                <a:gd name="T24" fmla="*/ 13 w 59"/>
                <a:gd name="T25" fmla="*/ 21 h 42"/>
                <a:gd name="T26" fmla="*/ 30 w 59"/>
                <a:gd name="T27" fmla="*/ 4 h 42"/>
                <a:gd name="T28" fmla="*/ 30 w 59"/>
                <a:gd name="T29" fmla="*/ 4 h 42"/>
                <a:gd name="T30" fmla="*/ 30 w 59"/>
                <a:gd name="T31" fmla="*/ 4 h 42"/>
                <a:gd name="T32" fmla="*/ 30 w 59"/>
                <a:gd name="T33" fmla="*/ 0 h 42"/>
                <a:gd name="T34" fmla="*/ 0 w 59"/>
                <a:gd name="T35" fmla="*/ 0 h 42"/>
                <a:gd name="T36" fmla="*/ 0 w 59"/>
                <a:gd name="T3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42">
                  <a:moveTo>
                    <a:pt x="30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9" y="4"/>
                    <a:pt x="46" y="12"/>
                    <a:pt x="46" y="21"/>
                  </a:cubicBezTo>
                  <a:cubicBezTo>
                    <a:pt x="46" y="30"/>
                    <a:pt x="39" y="37"/>
                    <a:pt x="30" y="37"/>
                  </a:cubicBezTo>
                  <a:lnTo>
                    <a:pt x="30" y="42"/>
                  </a:lnTo>
                  <a:close/>
                  <a:moveTo>
                    <a:pt x="0" y="42"/>
                  </a:moveTo>
                  <a:cubicBezTo>
                    <a:pt x="30" y="42"/>
                    <a:pt x="30" y="42"/>
                    <a:pt x="30" y="4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1" y="37"/>
                    <a:pt x="13" y="30"/>
                    <a:pt x="13" y="21"/>
                  </a:cubicBezTo>
                  <a:cubicBezTo>
                    <a:pt x="13" y="12"/>
                    <a:pt x="2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7" name="椭圆 1636"/>
            <p:cNvSpPr/>
            <p:nvPr>
              <p:custDataLst>
                <p:tags r:id="rId229"/>
              </p:custDataLst>
            </p:nvPr>
          </p:nvSpPr>
          <p:spPr bwMode="auto">
            <a:xfrm flipH="1">
              <a:off x="4188547" y="2796944"/>
              <a:ext cx="47413" cy="44702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8" name="任意多边形: 形状 1637"/>
            <p:cNvSpPr/>
            <p:nvPr>
              <p:custDataLst>
                <p:tags r:id="rId230"/>
              </p:custDataLst>
            </p:nvPr>
          </p:nvSpPr>
          <p:spPr bwMode="auto">
            <a:xfrm flipH="1">
              <a:off x="2958557" y="1477368"/>
              <a:ext cx="110326" cy="103159"/>
            </a:xfrm>
            <a:custGeom>
              <a:avLst/>
              <a:gdLst>
                <a:gd name="T0" fmla="*/ 26 w 51"/>
                <a:gd name="T1" fmla="*/ 51 h 51"/>
                <a:gd name="T2" fmla="*/ 51 w 51"/>
                <a:gd name="T3" fmla="*/ 25 h 51"/>
                <a:gd name="T4" fmla="*/ 26 w 51"/>
                <a:gd name="T5" fmla="*/ 0 h 51"/>
                <a:gd name="T6" fmla="*/ 26 w 51"/>
                <a:gd name="T7" fmla="*/ 18 h 51"/>
                <a:gd name="T8" fmla="*/ 33 w 51"/>
                <a:gd name="T9" fmla="*/ 25 h 51"/>
                <a:gd name="T10" fmla="*/ 26 w 51"/>
                <a:gd name="T11" fmla="*/ 33 h 51"/>
                <a:gd name="T12" fmla="*/ 26 w 51"/>
                <a:gd name="T13" fmla="*/ 51 h 51"/>
                <a:gd name="T14" fmla="*/ 26 w 51"/>
                <a:gd name="T15" fmla="*/ 33 h 51"/>
                <a:gd name="T16" fmla="*/ 26 w 51"/>
                <a:gd name="T17" fmla="*/ 33 h 51"/>
                <a:gd name="T18" fmla="*/ 26 w 51"/>
                <a:gd name="T19" fmla="*/ 0 h 51"/>
                <a:gd name="T20" fmla="*/ 0 w 51"/>
                <a:gd name="T21" fmla="*/ 25 h 51"/>
                <a:gd name="T22" fmla="*/ 26 w 51"/>
                <a:gd name="T23" fmla="*/ 51 h 51"/>
                <a:gd name="T24" fmla="*/ 26 w 51"/>
                <a:gd name="T25" fmla="*/ 33 h 51"/>
                <a:gd name="T26" fmla="*/ 26 w 51"/>
                <a:gd name="T27" fmla="*/ 33 h 51"/>
                <a:gd name="T28" fmla="*/ 18 w 51"/>
                <a:gd name="T29" fmla="*/ 25 h 51"/>
                <a:gd name="T30" fmla="*/ 26 w 51"/>
                <a:gd name="T31" fmla="*/ 18 h 51"/>
                <a:gd name="T32" fmla="*/ 26 w 51"/>
                <a:gd name="T3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40" y="51"/>
                    <a:pt x="51" y="40"/>
                    <a:pt x="51" y="25"/>
                  </a:cubicBezTo>
                  <a:cubicBezTo>
                    <a:pt x="51" y="11"/>
                    <a:pt x="40" y="0"/>
                    <a:pt x="26" y="0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0" y="18"/>
                    <a:pt x="33" y="21"/>
                    <a:pt x="33" y="25"/>
                  </a:cubicBezTo>
                  <a:cubicBezTo>
                    <a:pt x="33" y="30"/>
                    <a:pt x="30" y="33"/>
                    <a:pt x="26" y="33"/>
                  </a:cubicBezTo>
                  <a:cubicBezTo>
                    <a:pt x="26" y="51"/>
                    <a:pt x="26" y="51"/>
                    <a:pt x="26" y="51"/>
                  </a:cubicBezTo>
                  <a:close/>
                  <a:moveTo>
                    <a:pt x="26" y="33"/>
                  </a:moveTo>
                  <a:cubicBezTo>
                    <a:pt x="26" y="33"/>
                    <a:pt x="26" y="33"/>
                    <a:pt x="26" y="33"/>
                  </a:cubicBezTo>
                  <a:moveTo>
                    <a:pt x="26" y="0"/>
                  </a:moveTo>
                  <a:cubicBezTo>
                    <a:pt x="11" y="0"/>
                    <a:pt x="0" y="11"/>
                    <a:pt x="0" y="25"/>
                  </a:cubicBezTo>
                  <a:cubicBezTo>
                    <a:pt x="0" y="40"/>
                    <a:pt x="11" y="51"/>
                    <a:pt x="26" y="51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2" y="33"/>
                    <a:pt x="18" y="30"/>
                    <a:pt x="18" y="25"/>
                  </a:cubicBezTo>
                  <a:cubicBezTo>
                    <a:pt x="18" y="21"/>
                    <a:pt x="22" y="18"/>
                    <a:pt x="26" y="18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39" name="任意多边形: 形状 1638"/>
            <p:cNvSpPr/>
            <p:nvPr>
              <p:custDataLst>
                <p:tags r:id="rId231"/>
              </p:custDataLst>
            </p:nvPr>
          </p:nvSpPr>
          <p:spPr bwMode="auto">
            <a:xfrm flipH="1">
              <a:off x="2999588" y="1515193"/>
              <a:ext cx="25530" cy="24930"/>
            </a:xfrm>
            <a:custGeom>
              <a:avLst/>
              <a:gdLst>
                <a:gd name="T0" fmla="*/ 6 w 12"/>
                <a:gd name="T1" fmla="*/ 12 h 12"/>
                <a:gd name="T2" fmla="*/ 12 w 12"/>
                <a:gd name="T3" fmla="*/ 6 h 12"/>
                <a:gd name="T4" fmla="*/ 6 w 12"/>
                <a:gd name="T5" fmla="*/ 0 h 12"/>
                <a:gd name="T6" fmla="*/ 6 w 12"/>
                <a:gd name="T7" fmla="*/ 2 h 12"/>
                <a:gd name="T8" fmla="*/ 10 w 12"/>
                <a:gd name="T9" fmla="*/ 6 h 12"/>
                <a:gd name="T10" fmla="*/ 6 w 12"/>
                <a:gd name="T11" fmla="*/ 11 h 12"/>
                <a:gd name="T12" fmla="*/ 6 w 12"/>
                <a:gd name="T13" fmla="*/ 12 h 12"/>
                <a:gd name="T14" fmla="*/ 6 w 12"/>
                <a:gd name="T15" fmla="*/ 0 h 12"/>
                <a:gd name="T16" fmla="*/ 0 w 12"/>
                <a:gd name="T17" fmla="*/ 6 h 12"/>
                <a:gd name="T18" fmla="*/ 6 w 12"/>
                <a:gd name="T19" fmla="*/ 12 h 12"/>
                <a:gd name="T20" fmla="*/ 6 w 12"/>
                <a:gd name="T21" fmla="*/ 12 h 12"/>
                <a:gd name="T22" fmla="*/ 6 w 12"/>
                <a:gd name="T23" fmla="*/ 11 h 12"/>
                <a:gd name="T24" fmla="*/ 6 w 12"/>
                <a:gd name="T25" fmla="*/ 11 h 12"/>
                <a:gd name="T26" fmla="*/ 6 w 12"/>
                <a:gd name="T27" fmla="*/ 11 h 12"/>
                <a:gd name="T28" fmla="*/ 1 w 12"/>
                <a:gd name="T29" fmla="*/ 6 h 12"/>
                <a:gd name="T30" fmla="*/ 6 w 12"/>
                <a:gd name="T31" fmla="*/ 2 h 12"/>
                <a:gd name="T32" fmla="*/ 6 w 12"/>
                <a:gd name="T33" fmla="*/ 2 h 12"/>
                <a:gd name="T34" fmla="*/ 6 w 12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9" y="12"/>
                    <a:pt x="12" y="10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10" y="4"/>
                    <a:pt x="10" y="6"/>
                  </a:cubicBezTo>
                  <a:cubicBezTo>
                    <a:pt x="10" y="9"/>
                    <a:pt x="8" y="11"/>
                    <a:pt x="6" y="11"/>
                  </a:cubicBezTo>
                  <a:lnTo>
                    <a:pt x="6" y="12"/>
                  </a:lnTo>
                  <a:close/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1" y="9"/>
                    <a:pt x="1" y="6"/>
                  </a:cubicBezTo>
                  <a:cubicBezTo>
                    <a:pt x="1" y="4"/>
                    <a:pt x="3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0" name="任意多边形: 形状 1639"/>
            <p:cNvSpPr/>
            <p:nvPr>
              <p:custDataLst>
                <p:tags r:id="rId232"/>
              </p:custDataLst>
            </p:nvPr>
          </p:nvSpPr>
          <p:spPr bwMode="auto">
            <a:xfrm flipH="1">
              <a:off x="2292047" y="3908482"/>
              <a:ext cx="120355" cy="120352"/>
            </a:xfrm>
            <a:custGeom>
              <a:avLst/>
              <a:gdLst>
                <a:gd name="T0" fmla="*/ 46 w 56"/>
                <a:gd name="T1" fmla="*/ 41 h 59"/>
                <a:gd name="T2" fmla="*/ 50 w 56"/>
                <a:gd name="T3" fmla="*/ 39 h 59"/>
                <a:gd name="T4" fmla="*/ 55 w 56"/>
                <a:gd name="T5" fmla="*/ 37 h 59"/>
                <a:gd name="T6" fmla="*/ 55 w 56"/>
                <a:gd name="T7" fmla="*/ 30 h 59"/>
                <a:gd name="T8" fmla="*/ 54 w 56"/>
                <a:gd name="T9" fmla="*/ 17 h 59"/>
                <a:gd name="T10" fmla="*/ 42 w 56"/>
                <a:gd name="T11" fmla="*/ 28 h 59"/>
                <a:gd name="T12" fmla="*/ 37 w 56"/>
                <a:gd name="T13" fmla="*/ 32 h 59"/>
                <a:gd name="T14" fmla="*/ 37 w 56"/>
                <a:gd name="T15" fmla="*/ 28 h 59"/>
                <a:gd name="T16" fmla="*/ 42 w 56"/>
                <a:gd name="T17" fmla="*/ 20 h 59"/>
                <a:gd name="T18" fmla="*/ 38 w 56"/>
                <a:gd name="T19" fmla="*/ 12 h 59"/>
                <a:gd name="T20" fmla="*/ 28 w 56"/>
                <a:gd name="T21" fmla="*/ 0 h 59"/>
                <a:gd name="T22" fmla="*/ 28 w 56"/>
                <a:gd name="T23" fmla="*/ 0 h 59"/>
                <a:gd name="T24" fmla="*/ 28 w 56"/>
                <a:gd name="T25" fmla="*/ 0 h 59"/>
                <a:gd name="T26" fmla="*/ 28 w 56"/>
                <a:gd name="T27" fmla="*/ 0 h 59"/>
                <a:gd name="T28" fmla="*/ 28 w 56"/>
                <a:gd name="T29" fmla="*/ 0 h 59"/>
                <a:gd name="T30" fmla="*/ 18 w 56"/>
                <a:gd name="T31" fmla="*/ 12 h 59"/>
                <a:gd name="T32" fmla="*/ 14 w 56"/>
                <a:gd name="T33" fmla="*/ 20 h 59"/>
                <a:gd name="T34" fmla="*/ 18 w 56"/>
                <a:gd name="T35" fmla="*/ 28 h 59"/>
                <a:gd name="T36" fmla="*/ 19 w 56"/>
                <a:gd name="T37" fmla="*/ 32 h 59"/>
                <a:gd name="T38" fmla="*/ 14 w 56"/>
                <a:gd name="T39" fmla="*/ 28 h 59"/>
                <a:gd name="T40" fmla="*/ 2 w 56"/>
                <a:gd name="T41" fmla="*/ 17 h 59"/>
                <a:gd name="T42" fmla="*/ 1 w 56"/>
                <a:gd name="T43" fmla="*/ 30 h 59"/>
                <a:gd name="T44" fmla="*/ 1 w 56"/>
                <a:gd name="T45" fmla="*/ 37 h 59"/>
                <a:gd name="T46" fmla="*/ 6 w 56"/>
                <a:gd name="T47" fmla="*/ 39 h 59"/>
                <a:gd name="T48" fmla="*/ 10 w 56"/>
                <a:gd name="T49" fmla="*/ 41 h 59"/>
                <a:gd name="T50" fmla="*/ 9 w 56"/>
                <a:gd name="T51" fmla="*/ 44 h 59"/>
                <a:gd name="T52" fmla="*/ 1 w 56"/>
                <a:gd name="T53" fmla="*/ 41 h 59"/>
                <a:gd name="T54" fmla="*/ 13 w 56"/>
                <a:gd name="T55" fmla="*/ 58 h 59"/>
                <a:gd name="T56" fmla="*/ 19 w 56"/>
                <a:gd name="T57" fmla="*/ 57 h 59"/>
                <a:gd name="T58" fmla="*/ 25 w 56"/>
                <a:gd name="T59" fmla="*/ 53 h 59"/>
                <a:gd name="T60" fmla="*/ 27 w 56"/>
                <a:gd name="T61" fmla="*/ 53 h 59"/>
                <a:gd name="T62" fmla="*/ 27 w 56"/>
                <a:gd name="T63" fmla="*/ 50 h 59"/>
                <a:gd name="T64" fmla="*/ 28 w 56"/>
                <a:gd name="T65" fmla="*/ 26 h 59"/>
                <a:gd name="T66" fmla="*/ 29 w 56"/>
                <a:gd name="T67" fmla="*/ 50 h 59"/>
                <a:gd name="T68" fmla="*/ 29 w 56"/>
                <a:gd name="T69" fmla="*/ 53 h 59"/>
                <a:gd name="T70" fmla="*/ 31 w 56"/>
                <a:gd name="T71" fmla="*/ 53 h 59"/>
                <a:gd name="T72" fmla="*/ 37 w 56"/>
                <a:gd name="T73" fmla="*/ 57 h 59"/>
                <a:gd name="T74" fmla="*/ 43 w 56"/>
                <a:gd name="T75" fmla="*/ 58 h 59"/>
                <a:gd name="T76" fmla="*/ 55 w 56"/>
                <a:gd name="T77" fmla="*/ 41 h 59"/>
                <a:gd name="T78" fmla="*/ 47 w 56"/>
                <a:gd name="T79" fmla="*/ 44 h 59"/>
                <a:gd name="T80" fmla="*/ 46 w 56"/>
                <a:gd name="T81" fmla="*/ 4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" h="59">
                  <a:moveTo>
                    <a:pt x="46" y="41"/>
                  </a:moveTo>
                  <a:cubicBezTo>
                    <a:pt x="47" y="40"/>
                    <a:pt x="49" y="39"/>
                    <a:pt x="50" y="39"/>
                  </a:cubicBezTo>
                  <a:cubicBezTo>
                    <a:pt x="52" y="38"/>
                    <a:pt x="53" y="38"/>
                    <a:pt x="55" y="37"/>
                  </a:cubicBezTo>
                  <a:cubicBezTo>
                    <a:pt x="55" y="35"/>
                    <a:pt x="56" y="32"/>
                    <a:pt x="55" y="30"/>
                  </a:cubicBezTo>
                  <a:cubicBezTo>
                    <a:pt x="55" y="26"/>
                    <a:pt x="54" y="22"/>
                    <a:pt x="54" y="17"/>
                  </a:cubicBezTo>
                  <a:cubicBezTo>
                    <a:pt x="49" y="20"/>
                    <a:pt x="43" y="22"/>
                    <a:pt x="42" y="28"/>
                  </a:cubicBezTo>
                  <a:cubicBezTo>
                    <a:pt x="41" y="30"/>
                    <a:pt x="39" y="33"/>
                    <a:pt x="37" y="32"/>
                  </a:cubicBezTo>
                  <a:cubicBezTo>
                    <a:pt x="36" y="31"/>
                    <a:pt x="37" y="29"/>
                    <a:pt x="37" y="28"/>
                  </a:cubicBezTo>
                  <a:cubicBezTo>
                    <a:pt x="39" y="25"/>
                    <a:pt x="42" y="23"/>
                    <a:pt x="42" y="20"/>
                  </a:cubicBezTo>
                  <a:cubicBezTo>
                    <a:pt x="42" y="17"/>
                    <a:pt x="40" y="14"/>
                    <a:pt x="38" y="12"/>
                  </a:cubicBezTo>
                  <a:cubicBezTo>
                    <a:pt x="35" y="8"/>
                    <a:pt x="31" y="5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5"/>
                    <a:pt x="21" y="8"/>
                    <a:pt x="18" y="12"/>
                  </a:cubicBezTo>
                  <a:cubicBezTo>
                    <a:pt x="16" y="14"/>
                    <a:pt x="14" y="17"/>
                    <a:pt x="14" y="20"/>
                  </a:cubicBezTo>
                  <a:cubicBezTo>
                    <a:pt x="14" y="23"/>
                    <a:pt x="17" y="25"/>
                    <a:pt x="18" y="28"/>
                  </a:cubicBezTo>
                  <a:cubicBezTo>
                    <a:pt x="19" y="29"/>
                    <a:pt x="20" y="31"/>
                    <a:pt x="19" y="32"/>
                  </a:cubicBezTo>
                  <a:cubicBezTo>
                    <a:pt x="16" y="33"/>
                    <a:pt x="15" y="30"/>
                    <a:pt x="14" y="28"/>
                  </a:cubicBezTo>
                  <a:cubicBezTo>
                    <a:pt x="13" y="22"/>
                    <a:pt x="7" y="20"/>
                    <a:pt x="2" y="17"/>
                  </a:cubicBezTo>
                  <a:cubicBezTo>
                    <a:pt x="2" y="22"/>
                    <a:pt x="1" y="26"/>
                    <a:pt x="1" y="30"/>
                  </a:cubicBezTo>
                  <a:cubicBezTo>
                    <a:pt x="0" y="32"/>
                    <a:pt x="1" y="35"/>
                    <a:pt x="1" y="37"/>
                  </a:cubicBezTo>
                  <a:cubicBezTo>
                    <a:pt x="3" y="38"/>
                    <a:pt x="4" y="38"/>
                    <a:pt x="6" y="39"/>
                  </a:cubicBezTo>
                  <a:cubicBezTo>
                    <a:pt x="7" y="39"/>
                    <a:pt x="9" y="40"/>
                    <a:pt x="10" y="41"/>
                  </a:cubicBezTo>
                  <a:cubicBezTo>
                    <a:pt x="11" y="42"/>
                    <a:pt x="11" y="44"/>
                    <a:pt x="9" y="44"/>
                  </a:cubicBezTo>
                  <a:cubicBezTo>
                    <a:pt x="6" y="43"/>
                    <a:pt x="4" y="40"/>
                    <a:pt x="1" y="41"/>
                  </a:cubicBezTo>
                  <a:cubicBezTo>
                    <a:pt x="2" y="48"/>
                    <a:pt x="6" y="55"/>
                    <a:pt x="13" y="58"/>
                  </a:cubicBezTo>
                  <a:cubicBezTo>
                    <a:pt x="16" y="59"/>
                    <a:pt x="17" y="59"/>
                    <a:pt x="19" y="57"/>
                  </a:cubicBezTo>
                  <a:cubicBezTo>
                    <a:pt x="21" y="56"/>
                    <a:pt x="22" y="54"/>
                    <a:pt x="25" y="53"/>
                  </a:cubicBezTo>
                  <a:cubicBezTo>
                    <a:pt x="26" y="53"/>
                    <a:pt x="26" y="54"/>
                    <a:pt x="27" y="53"/>
                  </a:cubicBezTo>
                  <a:cubicBezTo>
                    <a:pt x="27" y="52"/>
                    <a:pt x="27" y="51"/>
                    <a:pt x="27" y="50"/>
                  </a:cubicBezTo>
                  <a:cubicBezTo>
                    <a:pt x="27" y="41"/>
                    <a:pt x="28" y="36"/>
                    <a:pt x="28" y="26"/>
                  </a:cubicBezTo>
                  <a:cubicBezTo>
                    <a:pt x="28" y="36"/>
                    <a:pt x="29" y="41"/>
                    <a:pt x="29" y="50"/>
                  </a:cubicBezTo>
                  <a:cubicBezTo>
                    <a:pt x="29" y="51"/>
                    <a:pt x="29" y="52"/>
                    <a:pt x="29" y="53"/>
                  </a:cubicBezTo>
                  <a:cubicBezTo>
                    <a:pt x="29" y="54"/>
                    <a:pt x="30" y="53"/>
                    <a:pt x="31" y="53"/>
                  </a:cubicBezTo>
                  <a:cubicBezTo>
                    <a:pt x="34" y="54"/>
                    <a:pt x="35" y="56"/>
                    <a:pt x="37" y="57"/>
                  </a:cubicBezTo>
                  <a:cubicBezTo>
                    <a:pt x="39" y="59"/>
                    <a:pt x="40" y="59"/>
                    <a:pt x="43" y="58"/>
                  </a:cubicBezTo>
                  <a:cubicBezTo>
                    <a:pt x="50" y="55"/>
                    <a:pt x="54" y="48"/>
                    <a:pt x="55" y="41"/>
                  </a:cubicBezTo>
                  <a:cubicBezTo>
                    <a:pt x="52" y="40"/>
                    <a:pt x="50" y="43"/>
                    <a:pt x="47" y="44"/>
                  </a:cubicBezTo>
                  <a:cubicBezTo>
                    <a:pt x="45" y="44"/>
                    <a:pt x="45" y="42"/>
                    <a:pt x="46" y="4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1" name="矩形 1640"/>
            <p:cNvSpPr/>
            <p:nvPr>
              <p:custDataLst>
                <p:tags r:id="rId233"/>
              </p:custDataLst>
            </p:nvPr>
          </p:nvSpPr>
          <p:spPr bwMode="auto">
            <a:xfrm flipH="1">
              <a:off x="2347665" y="4021098"/>
              <a:ext cx="9117" cy="36106"/>
            </a:xfrm>
            <a:prstGeom prst="rect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2" name="任意多边形: 形状 1641"/>
            <p:cNvSpPr/>
            <p:nvPr>
              <p:custDataLst>
                <p:tags r:id="rId234"/>
              </p:custDataLst>
            </p:nvPr>
          </p:nvSpPr>
          <p:spPr bwMode="auto">
            <a:xfrm flipH="1">
              <a:off x="1837069" y="3522495"/>
              <a:ext cx="31913" cy="38685"/>
            </a:xfrm>
            <a:custGeom>
              <a:avLst/>
              <a:gdLst>
                <a:gd name="T0" fmla="*/ 0 w 15"/>
                <a:gd name="T1" fmla="*/ 0 h 19"/>
                <a:gd name="T2" fmla="*/ 6 w 15"/>
                <a:gd name="T3" fmla="*/ 19 h 19"/>
                <a:gd name="T4" fmla="*/ 15 w 15"/>
                <a:gd name="T5" fmla="*/ 0 h 19"/>
                <a:gd name="T6" fmla="*/ 0 w 1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0" y="0"/>
                  </a:moveTo>
                  <a:cubicBezTo>
                    <a:pt x="0" y="8"/>
                    <a:pt x="3" y="15"/>
                    <a:pt x="6" y="19"/>
                  </a:cubicBezTo>
                  <a:cubicBezTo>
                    <a:pt x="11" y="14"/>
                    <a:pt x="15" y="8"/>
                    <a:pt x="1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3" name="任意多边形: 形状 1642"/>
            <p:cNvSpPr/>
            <p:nvPr>
              <p:custDataLst>
                <p:tags r:id="rId235"/>
              </p:custDataLst>
            </p:nvPr>
          </p:nvSpPr>
          <p:spPr bwMode="auto">
            <a:xfrm flipH="1">
              <a:off x="1837069" y="3473495"/>
              <a:ext cx="31913" cy="38685"/>
            </a:xfrm>
            <a:custGeom>
              <a:avLst/>
              <a:gdLst>
                <a:gd name="T0" fmla="*/ 6 w 15"/>
                <a:gd name="T1" fmla="*/ 0 h 19"/>
                <a:gd name="T2" fmla="*/ 0 w 15"/>
                <a:gd name="T3" fmla="*/ 19 h 19"/>
                <a:gd name="T4" fmla="*/ 15 w 15"/>
                <a:gd name="T5" fmla="*/ 19 h 19"/>
                <a:gd name="T6" fmla="*/ 6 w 1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6" y="0"/>
                  </a:moveTo>
                  <a:cubicBezTo>
                    <a:pt x="3" y="5"/>
                    <a:pt x="0" y="11"/>
                    <a:pt x="0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1"/>
                    <a:pt x="11" y="5"/>
                    <a:pt x="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4" name="任意多边形: 形状 1643"/>
            <p:cNvSpPr/>
            <p:nvPr>
              <p:custDataLst>
                <p:tags r:id="rId236"/>
              </p:custDataLst>
            </p:nvPr>
          </p:nvSpPr>
          <p:spPr bwMode="auto">
            <a:xfrm flipH="1">
              <a:off x="1864423" y="3457160"/>
              <a:ext cx="30089" cy="55018"/>
            </a:xfrm>
            <a:custGeom>
              <a:avLst/>
              <a:gdLst>
                <a:gd name="T0" fmla="*/ 0 w 14"/>
                <a:gd name="T1" fmla="*/ 0 h 27"/>
                <a:gd name="T2" fmla="*/ 0 w 14"/>
                <a:gd name="T3" fmla="*/ 27 h 27"/>
                <a:gd name="T4" fmla="*/ 7 w 14"/>
                <a:gd name="T5" fmla="*/ 27 h 27"/>
                <a:gd name="T6" fmla="*/ 14 w 14"/>
                <a:gd name="T7" fmla="*/ 5 h 27"/>
                <a:gd name="T8" fmla="*/ 0 w 14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0" y="0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18"/>
                    <a:pt x="10" y="10"/>
                    <a:pt x="14" y="5"/>
                  </a:cubicBezTo>
                  <a:cubicBezTo>
                    <a:pt x="10" y="2"/>
                    <a:pt x="5" y="0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5" name="任意多边形: 形状 1644"/>
            <p:cNvSpPr/>
            <p:nvPr>
              <p:custDataLst>
                <p:tags r:id="rId237"/>
              </p:custDataLst>
            </p:nvPr>
          </p:nvSpPr>
          <p:spPr bwMode="auto">
            <a:xfrm flipH="1">
              <a:off x="1905453" y="3522495"/>
              <a:ext cx="30089" cy="55018"/>
            </a:xfrm>
            <a:custGeom>
              <a:avLst/>
              <a:gdLst>
                <a:gd name="T0" fmla="*/ 14 w 14"/>
                <a:gd name="T1" fmla="*/ 27 h 27"/>
                <a:gd name="T2" fmla="*/ 14 w 14"/>
                <a:gd name="T3" fmla="*/ 0 h 27"/>
                <a:gd name="T4" fmla="*/ 7 w 14"/>
                <a:gd name="T5" fmla="*/ 0 h 27"/>
                <a:gd name="T6" fmla="*/ 0 w 14"/>
                <a:gd name="T7" fmla="*/ 22 h 27"/>
                <a:gd name="T8" fmla="*/ 14 w 1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14" y="27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9"/>
                    <a:pt x="4" y="17"/>
                    <a:pt x="0" y="22"/>
                  </a:cubicBezTo>
                  <a:cubicBezTo>
                    <a:pt x="4" y="25"/>
                    <a:pt x="9" y="27"/>
                    <a:pt x="14" y="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6" name="任意多边形: 形状 1645"/>
            <p:cNvSpPr/>
            <p:nvPr>
              <p:custDataLst>
                <p:tags r:id="rId238"/>
              </p:custDataLst>
            </p:nvPr>
          </p:nvSpPr>
          <p:spPr bwMode="auto">
            <a:xfrm flipH="1">
              <a:off x="1905453" y="3457160"/>
              <a:ext cx="30089" cy="55018"/>
            </a:xfrm>
            <a:custGeom>
              <a:avLst/>
              <a:gdLst>
                <a:gd name="T0" fmla="*/ 7 w 14"/>
                <a:gd name="T1" fmla="*/ 27 h 27"/>
                <a:gd name="T2" fmla="*/ 14 w 14"/>
                <a:gd name="T3" fmla="*/ 27 h 27"/>
                <a:gd name="T4" fmla="*/ 14 w 14"/>
                <a:gd name="T5" fmla="*/ 0 h 27"/>
                <a:gd name="T6" fmla="*/ 0 w 14"/>
                <a:gd name="T7" fmla="*/ 5 h 27"/>
                <a:gd name="T8" fmla="*/ 7 w 1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7" y="27"/>
                  </a:moveTo>
                  <a:cubicBezTo>
                    <a:pt x="14" y="27"/>
                    <a:pt x="14" y="27"/>
                    <a:pt x="14" y="2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9" y="0"/>
                    <a:pt x="4" y="2"/>
                    <a:pt x="0" y="5"/>
                  </a:cubicBezTo>
                  <a:cubicBezTo>
                    <a:pt x="4" y="10"/>
                    <a:pt x="7" y="18"/>
                    <a:pt x="7" y="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7" name="任意多边形: 形状 1646"/>
            <p:cNvSpPr/>
            <p:nvPr>
              <p:custDataLst>
                <p:tags r:id="rId239"/>
              </p:custDataLst>
            </p:nvPr>
          </p:nvSpPr>
          <p:spPr bwMode="auto">
            <a:xfrm flipH="1">
              <a:off x="1931895" y="3522495"/>
              <a:ext cx="31913" cy="38685"/>
            </a:xfrm>
            <a:custGeom>
              <a:avLst/>
              <a:gdLst>
                <a:gd name="T0" fmla="*/ 10 w 15"/>
                <a:gd name="T1" fmla="*/ 19 h 19"/>
                <a:gd name="T2" fmla="*/ 15 w 15"/>
                <a:gd name="T3" fmla="*/ 0 h 19"/>
                <a:gd name="T4" fmla="*/ 0 w 15"/>
                <a:gd name="T5" fmla="*/ 0 h 19"/>
                <a:gd name="T6" fmla="*/ 10 w 15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10" y="19"/>
                  </a:moveTo>
                  <a:cubicBezTo>
                    <a:pt x="13" y="14"/>
                    <a:pt x="15" y="8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8"/>
                    <a:pt x="4" y="14"/>
                    <a:pt x="10" y="1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8" name="任意多边形: 形状 1647"/>
            <p:cNvSpPr/>
            <p:nvPr>
              <p:custDataLst>
                <p:tags r:id="rId240"/>
              </p:custDataLst>
            </p:nvPr>
          </p:nvSpPr>
          <p:spPr bwMode="auto">
            <a:xfrm flipH="1">
              <a:off x="1931895" y="3473495"/>
              <a:ext cx="31913" cy="38685"/>
            </a:xfrm>
            <a:custGeom>
              <a:avLst/>
              <a:gdLst>
                <a:gd name="T0" fmla="*/ 10 w 15"/>
                <a:gd name="T1" fmla="*/ 0 h 19"/>
                <a:gd name="T2" fmla="*/ 0 w 15"/>
                <a:gd name="T3" fmla="*/ 19 h 19"/>
                <a:gd name="T4" fmla="*/ 15 w 15"/>
                <a:gd name="T5" fmla="*/ 19 h 19"/>
                <a:gd name="T6" fmla="*/ 10 w 1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10" y="0"/>
                  </a:moveTo>
                  <a:cubicBezTo>
                    <a:pt x="4" y="5"/>
                    <a:pt x="1" y="12"/>
                    <a:pt x="0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1"/>
                    <a:pt x="13" y="5"/>
                    <a:pt x="1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49" name="任意多边形: 形状 1648"/>
            <p:cNvSpPr/>
            <p:nvPr>
              <p:custDataLst>
                <p:tags r:id="rId241"/>
              </p:custDataLst>
            </p:nvPr>
          </p:nvSpPr>
          <p:spPr bwMode="auto">
            <a:xfrm flipH="1">
              <a:off x="1864423" y="3522495"/>
              <a:ext cx="30089" cy="55018"/>
            </a:xfrm>
            <a:custGeom>
              <a:avLst/>
              <a:gdLst>
                <a:gd name="T0" fmla="*/ 0 w 14"/>
                <a:gd name="T1" fmla="*/ 27 h 27"/>
                <a:gd name="T2" fmla="*/ 14 w 14"/>
                <a:gd name="T3" fmla="*/ 22 h 27"/>
                <a:gd name="T4" fmla="*/ 7 w 14"/>
                <a:gd name="T5" fmla="*/ 0 h 27"/>
                <a:gd name="T6" fmla="*/ 0 w 14"/>
                <a:gd name="T7" fmla="*/ 0 h 27"/>
                <a:gd name="T8" fmla="*/ 0 w 1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0" y="27"/>
                  </a:moveTo>
                  <a:cubicBezTo>
                    <a:pt x="5" y="27"/>
                    <a:pt x="10" y="25"/>
                    <a:pt x="14" y="22"/>
                  </a:cubicBezTo>
                  <a:cubicBezTo>
                    <a:pt x="10" y="17"/>
                    <a:pt x="7" y="9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0" name="任意多边形: 形状 1649"/>
            <p:cNvSpPr/>
            <p:nvPr>
              <p:custDataLst>
                <p:tags r:id="rId242"/>
              </p:custDataLst>
            </p:nvPr>
          </p:nvSpPr>
          <p:spPr bwMode="auto">
            <a:xfrm flipH="1">
              <a:off x="1858040" y="1724950"/>
              <a:ext cx="170503" cy="160756"/>
            </a:xfrm>
            <a:custGeom>
              <a:avLst/>
              <a:gdLst>
                <a:gd name="T0" fmla="*/ 40 w 79"/>
                <a:gd name="T1" fmla="*/ 79 h 79"/>
                <a:gd name="T2" fmla="*/ 79 w 79"/>
                <a:gd name="T3" fmla="*/ 40 h 79"/>
                <a:gd name="T4" fmla="*/ 40 w 79"/>
                <a:gd name="T5" fmla="*/ 0 h 79"/>
                <a:gd name="T6" fmla="*/ 40 w 79"/>
                <a:gd name="T7" fmla="*/ 0 h 79"/>
                <a:gd name="T8" fmla="*/ 40 w 79"/>
                <a:gd name="T9" fmla="*/ 28 h 79"/>
                <a:gd name="T10" fmla="*/ 60 w 79"/>
                <a:gd name="T11" fmla="*/ 20 h 79"/>
                <a:gd name="T12" fmla="*/ 47 w 79"/>
                <a:gd name="T13" fmla="*/ 47 h 79"/>
                <a:gd name="T14" fmla="*/ 40 w 79"/>
                <a:gd name="T15" fmla="*/ 51 h 79"/>
                <a:gd name="T16" fmla="*/ 40 w 79"/>
                <a:gd name="T17" fmla="*/ 79 h 79"/>
                <a:gd name="T18" fmla="*/ 40 w 79"/>
                <a:gd name="T19" fmla="*/ 0 h 79"/>
                <a:gd name="T20" fmla="*/ 0 w 79"/>
                <a:gd name="T21" fmla="*/ 40 h 79"/>
                <a:gd name="T22" fmla="*/ 40 w 79"/>
                <a:gd name="T23" fmla="*/ 79 h 79"/>
                <a:gd name="T24" fmla="*/ 40 w 79"/>
                <a:gd name="T25" fmla="*/ 51 h 79"/>
                <a:gd name="T26" fmla="*/ 20 w 79"/>
                <a:gd name="T27" fmla="*/ 60 h 79"/>
                <a:gd name="T28" fmla="*/ 32 w 79"/>
                <a:gd name="T29" fmla="*/ 32 h 79"/>
                <a:gd name="T30" fmla="*/ 32 w 79"/>
                <a:gd name="T31" fmla="*/ 32 h 79"/>
                <a:gd name="T32" fmla="*/ 40 w 79"/>
                <a:gd name="T33" fmla="*/ 28 h 79"/>
                <a:gd name="T34" fmla="*/ 40 w 79"/>
                <a:gd name="T3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79">
                  <a:moveTo>
                    <a:pt x="40" y="79"/>
                  </a:moveTo>
                  <a:cubicBezTo>
                    <a:pt x="61" y="79"/>
                    <a:pt x="79" y="61"/>
                    <a:pt x="79" y="40"/>
                  </a:cubicBezTo>
                  <a:cubicBezTo>
                    <a:pt x="79" y="18"/>
                    <a:pt x="61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79"/>
                    <a:pt x="40" y="79"/>
                    <a:pt x="40" y="79"/>
                  </a:cubicBezTo>
                  <a:close/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40" y="28"/>
                    <a:pt x="40" y="28"/>
                    <a:pt x="40" y="28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1" name="椭圆 1650"/>
            <p:cNvSpPr/>
            <p:nvPr>
              <p:custDataLst>
                <p:tags r:id="rId243"/>
              </p:custDataLst>
            </p:nvPr>
          </p:nvSpPr>
          <p:spPr bwMode="auto">
            <a:xfrm flipH="1">
              <a:off x="1933718" y="1796301"/>
              <a:ext cx="19148" cy="18053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2" name="任意多边形: 形状 1651"/>
            <p:cNvSpPr/>
            <p:nvPr>
              <p:custDataLst>
                <p:tags r:id="rId244"/>
              </p:custDataLst>
            </p:nvPr>
          </p:nvSpPr>
          <p:spPr bwMode="auto">
            <a:xfrm flipH="1">
              <a:off x="3357917" y="4947809"/>
              <a:ext cx="137679" cy="65334"/>
            </a:xfrm>
            <a:custGeom>
              <a:avLst/>
              <a:gdLst>
                <a:gd name="T0" fmla="*/ 55 w 64"/>
                <a:gd name="T1" fmla="*/ 23 h 32"/>
                <a:gd name="T2" fmla="*/ 64 w 64"/>
                <a:gd name="T3" fmla="*/ 12 h 32"/>
                <a:gd name="T4" fmla="*/ 55 w 64"/>
                <a:gd name="T5" fmla="*/ 1 h 32"/>
                <a:gd name="T6" fmla="*/ 55 w 64"/>
                <a:gd name="T7" fmla="*/ 6 h 32"/>
                <a:gd name="T8" fmla="*/ 59 w 64"/>
                <a:gd name="T9" fmla="*/ 12 h 32"/>
                <a:gd name="T10" fmla="*/ 55 w 64"/>
                <a:gd name="T11" fmla="*/ 18 h 32"/>
                <a:gd name="T12" fmla="*/ 55 w 64"/>
                <a:gd name="T13" fmla="*/ 23 h 32"/>
                <a:gd name="T14" fmla="*/ 27 w 64"/>
                <a:gd name="T15" fmla="*/ 32 h 32"/>
                <a:gd name="T16" fmla="*/ 48 w 64"/>
                <a:gd name="T17" fmla="*/ 22 h 32"/>
                <a:gd name="T18" fmla="*/ 53 w 64"/>
                <a:gd name="T19" fmla="*/ 23 h 32"/>
                <a:gd name="T20" fmla="*/ 55 w 64"/>
                <a:gd name="T21" fmla="*/ 23 h 32"/>
                <a:gd name="T22" fmla="*/ 55 w 64"/>
                <a:gd name="T23" fmla="*/ 18 h 32"/>
                <a:gd name="T24" fmla="*/ 53 w 64"/>
                <a:gd name="T25" fmla="*/ 18 h 32"/>
                <a:gd name="T26" fmla="*/ 51 w 64"/>
                <a:gd name="T27" fmla="*/ 18 h 32"/>
                <a:gd name="T28" fmla="*/ 54 w 64"/>
                <a:gd name="T29" fmla="*/ 5 h 32"/>
                <a:gd name="T30" fmla="*/ 54 w 64"/>
                <a:gd name="T31" fmla="*/ 5 h 32"/>
                <a:gd name="T32" fmla="*/ 54 w 64"/>
                <a:gd name="T33" fmla="*/ 5 h 32"/>
                <a:gd name="T34" fmla="*/ 55 w 64"/>
                <a:gd name="T35" fmla="*/ 6 h 32"/>
                <a:gd name="T36" fmla="*/ 55 w 64"/>
                <a:gd name="T37" fmla="*/ 1 h 32"/>
                <a:gd name="T38" fmla="*/ 53 w 64"/>
                <a:gd name="T39" fmla="*/ 0 h 32"/>
                <a:gd name="T40" fmla="*/ 53 w 64"/>
                <a:gd name="T41" fmla="*/ 0 h 32"/>
                <a:gd name="T42" fmla="*/ 1 w 64"/>
                <a:gd name="T43" fmla="*/ 0 h 32"/>
                <a:gd name="T44" fmla="*/ 0 w 64"/>
                <a:gd name="T45" fmla="*/ 5 h 32"/>
                <a:gd name="T46" fmla="*/ 27 w 64"/>
                <a:gd name="T4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32">
                  <a:moveTo>
                    <a:pt x="55" y="23"/>
                  </a:moveTo>
                  <a:cubicBezTo>
                    <a:pt x="60" y="22"/>
                    <a:pt x="64" y="17"/>
                    <a:pt x="64" y="12"/>
                  </a:cubicBezTo>
                  <a:cubicBezTo>
                    <a:pt x="64" y="6"/>
                    <a:pt x="60" y="2"/>
                    <a:pt x="55" y="1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7" y="7"/>
                    <a:pt x="59" y="9"/>
                    <a:pt x="59" y="12"/>
                  </a:cubicBezTo>
                  <a:cubicBezTo>
                    <a:pt x="59" y="14"/>
                    <a:pt x="57" y="17"/>
                    <a:pt x="55" y="18"/>
                  </a:cubicBezTo>
                  <a:lnTo>
                    <a:pt x="55" y="23"/>
                  </a:lnTo>
                  <a:close/>
                  <a:moveTo>
                    <a:pt x="27" y="32"/>
                  </a:moveTo>
                  <a:cubicBezTo>
                    <a:pt x="35" y="32"/>
                    <a:pt x="43" y="28"/>
                    <a:pt x="48" y="22"/>
                  </a:cubicBezTo>
                  <a:cubicBezTo>
                    <a:pt x="49" y="23"/>
                    <a:pt x="51" y="23"/>
                    <a:pt x="53" y="23"/>
                  </a:cubicBezTo>
                  <a:cubicBezTo>
                    <a:pt x="53" y="23"/>
                    <a:pt x="54" y="23"/>
                    <a:pt x="55" y="23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3" y="18"/>
                    <a:pt x="53" y="18"/>
                  </a:cubicBezTo>
                  <a:cubicBezTo>
                    <a:pt x="52" y="18"/>
                    <a:pt x="51" y="18"/>
                    <a:pt x="51" y="18"/>
                  </a:cubicBezTo>
                  <a:cubicBezTo>
                    <a:pt x="52" y="14"/>
                    <a:pt x="54" y="10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6"/>
                    <a:pt x="55" y="6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0"/>
                    <a:pt x="54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20"/>
                    <a:pt x="12" y="32"/>
                    <a:pt x="27" y="3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3" name="矩形 1652"/>
            <p:cNvSpPr/>
            <p:nvPr>
              <p:custDataLst>
                <p:tags r:id="rId245"/>
              </p:custDataLst>
            </p:nvPr>
          </p:nvSpPr>
          <p:spPr bwMode="auto">
            <a:xfrm flipH="1">
              <a:off x="3370681" y="5019161"/>
              <a:ext cx="124914" cy="10316"/>
            </a:xfrm>
            <a:prstGeom prst="rect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4" name="任意多边形: 形状 1653"/>
            <p:cNvSpPr/>
            <p:nvPr>
              <p:custDataLst>
                <p:tags r:id="rId246"/>
              </p:custDataLst>
            </p:nvPr>
          </p:nvSpPr>
          <p:spPr bwMode="auto">
            <a:xfrm flipH="1">
              <a:off x="3443623" y="4891072"/>
              <a:ext cx="23706" cy="55018"/>
            </a:xfrm>
            <a:custGeom>
              <a:avLst/>
              <a:gdLst>
                <a:gd name="T0" fmla="*/ 4 w 11"/>
                <a:gd name="T1" fmla="*/ 20 h 27"/>
                <a:gd name="T2" fmla="*/ 5 w 11"/>
                <a:gd name="T3" fmla="*/ 25 h 27"/>
                <a:gd name="T4" fmla="*/ 10 w 11"/>
                <a:gd name="T5" fmla="*/ 16 h 27"/>
                <a:gd name="T6" fmla="*/ 7 w 11"/>
                <a:gd name="T7" fmla="*/ 11 h 27"/>
                <a:gd name="T8" fmla="*/ 7 w 11"/>
                <a:gd name="T9" fmla="*/ 7 h 27"/>
                <a:gd name="T10" fmla="*/ 4 w 11"/>
                <a:gd name="T11" fmla="*/ 2 h 27"/>
                <a:gd name="T12" fmla="*/ 2 w 11"/>
                <a:gd name="T13" fmla="*/ 11 h 27"/>
                <a:gd name="T14" fmla="*/ 4 w 11"/>
                <a:gd name="T15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7">
                  <a:moveTo>
                    <a:pt x="4" y="20"/>
                  </a:moveTo>
                  <a:cubicBezTo>
                    <a:pt x="1" y="21"/>
                    <a:pt x="2" y="27"/>
                    <a:pt x="5" y="25"/>
                  </a:cubicBezTo>
                  <a:cubicBezTo>
                    <a:pt x="9" y="24"/>
                    <a:pt x="11" y="20"/>
                    <a:pt x="10" y="16"/>
                  </a:cubicBezTo>
                  <a:cubicBezTo>
                    <a:pt x="9" y="14"/>
                    <a:pt x="8" y="13"/>
                    <a:pt x="7" y="11"/>
                  </a:cubicBezTo>
                  <a:cubicBezTo>
                    <a:pt x="7" y="10"/>
                    <a:pt x="6" y="8"/>
                    <a:pt x="7" y="7"/>
                  </a:cubicBezTo>
                  <a:cubicBezTo>
                    <a:pt x="10" y="5"/>
                    <a:pt x="7" y="0"/>
                    <a:pt x="4" y="2"/>
                  </a:cubicBezTo>
                  <a:cubicBezTo>
                    <a:pt x="1" y="4"/>
                    <a:pt x="0" y="8"/>
                    <a:pt x="2" y="11"/>
                  </a:cubicBezTo>
                  <a:cubicBezTo>
                    <a:pt x="2" y="13"/>
                    <a:pt x="6" y="19"/>
                    <a:pt x="4" y="20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5" name="任意多边形: 形状 1654"/>
            <p:cNvSpPr/>
            <p:nvPr>
              <p:custDataLst>
                <p:tags r:id="rId247"/>
              </p:custDataLst>
            </p:nvPr>
          </p:nvSpPr>
          <p:spPr bwMode="auto">
            <a:xfrm flipH="1">
              <a:off x="3411712" y="4891072"/>
              <a:ext cx="23706" cy="55018"/>
            </a:xfrm>
            <a:custGeom>
              <a:avLst/>
              <a:gdLst>
                <a:gd name="T0" fmla="*/ 4 w 11"/>
                <a:gd name="T1" fmla="*/ 20 h 27"/>
                <a:gd name="T2" fmla="*/ 5 w 11"/>
                <a:gd name="T3" fmla="*/ 25 h 27"/>
                <a:gd name="T4" fmla="*/ 10 w 11"/>
                <a:gd name="T5" fmla="*/ 16 h 27"/>
                <a:gd name="T6" fmla="*/ 7 w 11"/>
                <a:gd name="T7" fmla="*/ 11 h 27"/>
                <a:gd name="T8" fmla="*/ 7 w 11"/>
                <a:gd name="T9" fmla="*/ 7 h 27"/>
                <a:gd name="T10" fmla="*/ 4 w 11"/>
                <a:gd name="T11" fmla="*/ 2 h 27"/>
                <a:gd name="T12" fmla="*/ 2 w 11"/>
                <a:gd name="T13" fmla="*/ 11 h 27"/>
                <a:gd name="T14" fmla="*/ 4 w 11"/>
                <a:gd name="T15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7">
                  <a:moveTo>
                    <a:pt x="4" y="20"/>
                  </a:moveTo>
                  <a:cubicBezTo>
                    <a:pt x="1" y="21"/>
                    <a:pt x="2" y="27"/>
                    <a:pt x="5" y="25"/>
                  </a:cubicBezTo>
                  <a:cubicBezTo>
                    <a:pt x="9" y="24"/>
                    <a:pt x="11" y="20"/>
                    <a:pt x="10" y="16"/>
                  </a:cubicBezTo>
                  <a:cubicBezTo>
                    <a:pt x="9" y="14"/>
                    <a:pt x="8" y="13"/>
                    <a:pt x="7" y="11"/>
                  </a:cubicBezTo>
                  <a:cubicBezTo>
                    <a:pt x="7" y="10"/>
                    <a:pt x="6" y="8"/>
                    <a:pt x="7" y="7"/>
                  </a:cubicBezTo>
                  <a:cubicBezTo>
                    <a:pt x="10" y="5"/>
                    <a:pt x="7" y="0"/>
                    <a:pt x="4" y="2"/>
                  </a:cubicBezTo>
                  <a:cubicBezTo>
                    <a:pt x="1" y="4"/>
                    <a:pt x="0" y="8"/>
                    <a:pt x="2" y="11"/>
                  </a:cubicBezTo>
                  <a:cubicBezTo>
                    <a:pt x="2" y="13"/>
                    <a:pt x="6" y="19"/>
                    <a:pt x="4" y="2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6" name="椭圆 1655"/>
            <p:cNvSpPr/>
            <p:nvPr>
              <p:custDataLst>
                <p:tags r:id="rId248"/>
              </p:custDataLst>
            </p:nvPr>
          </p:nvSpPr>
          <p:spPr bwMode="auto">
            <a:xfrm flipH="1">
              <a:off x="1527977" y="2727311"/>
              <a:ext cx="12765" cy="1461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7" name="椭圆 1656"/>
            <p:cNvSpPr/>
            <p:nvPr>
              <p:custDataLst>
                <p:tags r:id="rId249"/>
              </p:custDataLst>
            </p:nvPr>
          </p:nvSpPr>
          <p:spPr bwMode="auto">
            <a:xfrm flipH="1">
              <a:off x="1515212" y="2713557"/>
              <a:ext cx="12765" cy="945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8" name="椭圆 1657"/>
            <p:cNvSpPr/>
            <p:nvPr>
              <p:custDataLst>
                <p:tags r:id="rId250"/>
              </p:custDataLst>
            </p:nvPr>
          </p:nvSpPr>
          <p:spPr bwMode="auto">
            <a:xfrm flipH="1">
              <a:off x="1530712" y="2694644"/>
              <a:ext cx="8206" cy="859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59" name="椭圆 1658"/>
            <p:cNvSpPr/>
            <p:nvPr>
              <p:custDataLst>
                <p:tags r:id="rId251"/>
              </p:custDataLst>
            </p:nvPr>
          </p:nvSpPr>
          <p:spPr bwMode="auto">
            <a:xfrm flipH="1">
              <a:off x="1527977" y="2664556"/>
              <a:ext cx="12765" cy="1375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0" name="任意多边形: 形状 1659"/>
            <p:cNvSpPr/>
            <p:nvPr>
              <p:custDataLst>
                <p:tags r:id="rId252"/>
              </p:custDataLst>
            </p:nvPr>
          </p:nvSpPr>
          <p:spPr bwMode="auto">
            <a:xfrm flipH="1">
              <a:off x="1489682" y="2603520"/>
              <a:ext cx="72942" cy="154739"/>
            </a:xfrm>
            <a:custGeom>
              <a:avLst/>
              <a:gdLst>
                <a:gd name="T0" fmla="*/ 19 w 34"/>
                <a:gd name="T1" fmla="*/ 4 h 76"/>
                <a:gd name="T2" fmla="*/ 18 w 34"/>
                <a:gd name="T3" fmla="*/ 7 h 76"/>
                <a:gd name="T4" fmla="*/ 18 w 34"/>
                <a:gd name="T5" fmla="*/ 11 h 76"/>
                <a:gd name="T6" fmla="*/ 16 w 34"/>
                <a:gd name="T7" fmla="*/ 11 h 76"/>
                <a:gd name="T8" fmla="*/ 16 w 34"/>
                <a:gd name="T9" fmla="*/ 25 h 76"/>
                <a:gd name="T10" fmla="*/ 18 w 34"/>
                <a:gd name="T11" fmla="*/ 25 h 76"/>
                <a:gd name="T12" fmla="*/ 18 w 34"/>
                <a:gd name="T13" fmla="*/ 35 h 76"/>
                <a:gd name="T14" fmla="*/ 18 w 34"/>
                <a:gd name="T15" fmla="*/ 39 h 76"/>
                <a:gd name="T16" fmla="*/ 21 w 34"/>
                <a:gd name="T17" fmla="*/ 42 h 76"/>
                <a:gd name="T18" fmla="*/ 21 w 34"/>
                <a:gd name="T19" fmla="*/ 42 h 76"/>
                <a:gd name="T20" fmla="*/ 24 w 34"/>
                <a:gd name="T21" fmla="*/ 39 h 76"/>
                <a:gd name="T22" fmla="*/ 24 w 34"/>
                <a:gd name="T23" fmla="*/ 25 h 76"/>
                <a:gd name="T24" fmla="*/ 26 w 34"/>
                <a:gd name="T25" fmla="*/ 25 h 76"/>
                <a:gd name="T26" fmla="*/ 26 w 34"/>
                <a:gd name="T27" fmla="*/ 25 h 76"/>
                <a:gd name="T28" fmla="*/ 26 w 34"/>
                <a:gd name="T29" fmla="*/ 69 h 76"/>
                <a:gd name="T30" fmla="*/ 16 w 34"/>
                <a:gd name="T31" fmla="*/ 69 h 76"/>
                <a:gd name="T32" fmla="*/ 16 w 34"/>
                <a:gd name="T33" fmla="*/ 76 h 76"/>
                <a:gd name="T34" fmla="*/ 32 w 34"/>
                <a:gd name="T35" fmla="*/ 76 h 76"/>
                <a:gd name="T36" fmla="*/ 32 w 34"/>
                <a:gd name="T37" fmla="*/ 11 h 76"/>
                <a:gd name="T38" fmla="*/ 24 w 34"/>
                <a:gd name="T39" fmla="*/ 11 h 76"/>
                <a:gd name="T40" fmla="*/ 24 w 34"/>
                <a:gd name="T41" fmla="*/ 8 h 76"/>
                <a:gd name="T42" fmla="*/ 31 w 34"/>
                <a:gd name="T43" fmla="*/ 6 h 76"/>
                <a:gd name="T44" fmla="*/ 34 w 34"/>
                <a:gd name="T45" fmla="*/ 3 h 76"/>
                <a:gd name="T46" fmla="*/ 30 w 34"/>
                <a:gd name="T47" fmla="*/ 0 h 76"/>
                <a:gd name="T48" fmla="*/ 21 w 34"/>
                <a:gd name="T49" fmla="*/ 3 h 76"/>
                <a:gd name="T50" fmla="*/ 19 w 34"/>
                <a:gd name="T51" fmla="*/ 4 h 76"/>
                <a:gd name="T52" fmla="*/ 16 w 34"/>
                <a:gd name="T53" fmla="*/ 11 h 76"/>
                <a:gd name="T54" fmla="*/ 0 w 34"/>
                <a:gd name="T55" fmla="*/ 11 h 76"/>
                <a:gd name="T56" fmla="*/ 0 w 34"/>
                <a:gd name="T57" fmla="*/ 76 h 76"/>
                <a:gd name="T58" fmla="*/ 16 w 34"/>
                <a:gd name="T59" fmla="*/ 76 h 76"/>
                <a:gd name="T60" fmla="*/ 16 w 34"/>
                <a:gd name="T61" fmla="*/ 69 h 76"/>
                <a:gd name="T62" fmla="*/ 7 w 34"/>
                <a:gd name="T63" fmla="*/ 69 h 76"/>
                <a:gd name="T64" fmla="*/ 7 w 34"/>
                <a:gd name="T65" fmla="*/ 25 h 76"/>
                <a:gd name="T66" fmla="*/ 16 w 34"/>
                <a:gd name="T67" fmla="*/ 25 h 76"/>
                <a:gd name="T68" fmla="*/ 16 w 34"/>
                <a:gd name="T69" fmla="*/ 1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" h="76">
                  <a:moveTo>
                    <a:pt x="19" y="4"/>
                  </a:moveTo>
                  <a:cubicBezTo>
                    <a:pt x="18" y="5"/>
                    <a:pt x="18" y="6"/>
                    <a:pt x="18" y="7"/>
                  </a:cubicBezTo>
                  <a:cubicBezTo>
                    <a:pt x="18" y="7"/>
                    <a:pt x="18" y="9"/>
                    <a:pt x="18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30"/>
                    <a:pt x="18" y="34"/>
                    <a:pt x="18" y="35"/>
                  </a:cubicBezTo>
                  <a:cubicBezTo>
                    <a:pt x="18" y="36"/>
                    <a:pt x="18" y="39"/>
                    <a:pt x="18" y="39"/>
                  </a:cubicBezTo>
                  <a:cubicBezTo>
                    <a:pt x="18" y="41"/>
                    <a:pt x="19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3" y="42"/>
                    <a:pt x="24" y="41"/>
                    <a:pt x="24" y="39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3" y="6"/>
                    <a:pt x="34" y="4"/>
                    <a:pt x="34" y="3"/>
                  </a:cubicBezTo>
                  <a:cubicBezTo>
                    <a:pt x="33" y="1"/>
                    <a:pt x="32" y="0"/>
                    <a:pt x="30" y="0"/>
                  </a:cubicBezTo>
                  <a:cubicBezTo>
                    <a:pt x="30" y="1"/>
                    <a:pt x="22" y="2"/>
                    <a:pt x="21" y="3"/>
                  </a:cubicBezTo>
                  <a:cubicBezTo>
                    <a:pt x="20" y="3"/>
                    <a:pt x="19" y="3"/>
                    <a:pt x="19" y="4"/>
                  </a:cubicBezTo>
                  <a:close/>
                  <a:moveTo>
                    <a:pt x="16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6" y="25"/>
                    <a:pt x="16" y="25"/>
                    <a:pt x="16" y="25"/>
                  </a:cubicBezTo>
                  <a:lnTo>
                    <a:pt x="16" y="1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1" name="任意多边形: 形状 1660"/>
            <p:cNvSpPr/>
            <p:nvPr>
              <p:custDataLst>
                <p:tags r:id="rId253"/>
              </p:custDataLst>
            </p:nvPr>
          </p:nvSpPr>
          <p:spPr bwMode="auto">
            <a:xfrm flipH="1">
              <a:off x="3935984" y="2521854"/>
              <a:ext cx="120355" cy="114335"/>
            </a:xfrm>
            <a:custGeom>
              <a:avLst/>
              <a:gdLst>
                <a:gd name="T0" fmla="*/ 28 w 56"/>
                <a:gd name="T1" fmla="*/ 56 h 56"/>
                <a:gd name="T2" fmla="*/ 32 w 56"/>
                <a:gd name="T3" fmla="*/ 56 h 56"/>
                <a:gd name="T4" fmla="*/ 32 w 56"/>
                <a:gd name="T5" fmla="*/ 51 h 56"/>
                <a:gd name="T6" fmla="*/ 42 w 56"/>
                <a:gd name="T7" fmla="*/ 48 h 56"/>
                <a:gd name="T8" fmla="*/ 44 w 56"/>
                <a:gd name="T9" fmla="*/ 51 h 56"/>
                <a:gd name="T10" fmla="*/ 51 w 56"/>
                <a:gd name="T11" fmla="*/ 44 h 56"/>
                <a:gd name="T12" fmla="*/ 48 w 56"/>
                <a:gd name="T13" fmla="*/ 42 h 56"/>
                <a:gd name="T14" fmla="*/ 51 w 56"/>
                <a:gd name="T15" fmla="*/ 32 h 56"/>
                <a:gd name="T16" fmla="*/ 56 w 56"/>
                <a:gd name="T17" fmla="*/ 32 h 56"/>
                <a:gd name="T18" fmla="*/ 56 w 56"/>
                <a:gd name="T19" fmla="*/ 24 h 56"/>
                <a:gd name="T20" fmla="*/ 51 w 56"/>
                <a:gd name="T21" fmla="*/ 24 h 56"/>
                <a:gd name="T22" fmla="*/ 48 w 56"/>
                <a:gd name="T23" fmla="*/ 14 h 56"/>
                <a:gd name="T24" fmla="*/ 51 w 56"/>
                <a:gd name="T25" fmla="*/ 11 h 56"/>
                <a:gd name="T26" fmla="*/ 44 w 56"/>
                <a:gd name="T27" fmla="*/ 5 h 56"/>
                <a:gd name="T28" fmla="*/ 42 w 56"/>
                <a:gd name="T29" fmla="*/ 8 h 56"/>
                <a:gd name="T30" fmla="*/ 32 w 56"/>
                <a:gd name="T31" fmla="*/ 4 h 56"/>
                <a:gd name="T32" fmla="*/ 32 w 56"/>
                <a:gd name="T33" fmla="*/ 0 h 56"/>
                <a:gd name="T34" fmla="*/ 28 w 56"/>
                <a:gd name="T35" fmla="*/ 0 h 56"/>
                <a:gd name="T36" fmla="*/ 28 w 56"/>
                <a:gd name="T37" fmla="*/ 10 h 56"/>
                <a:gd name="T38" fmla="*/ 46 w 56"/>
                <a:gd name="T39" fmla="*/ 28 h 56"/>
                <a:gd name="T40" fmla="*/ 28 w 56"/>
                <a:gd name="T41" fmla="*/ 46 h 56"/>
                <a:gd name="T42" fmla="*/ 28 w 56"/>
                <a:gd name="T43" fmla="*/ 56 h 56"/>
                <a:gd name="T44" fmla="*/ 8 w 56"/>
                <a:gd name="T45" fmla="*/ 42 h 56"/>
                <a:gd name="T46" fmla="*/ 5 w 56"/>
                <a:gd name="T47" fmla="*/ 44 h 56"/>
                <a:gd name="T48" fmla="*/ 11 w 56"/>
                <a:gd name="T49" fmla="*/ 51 h 56"/>
                <a:gd name="T50" fmla="*/ 14 w 56"/>
                <a:gd name="T51" fmla="*/ 48 h 56"/>
                <a:gd name="T52" fmla="*/ 24 w 56"/>
                <a:gd name="T53" fmla="*/ 51 h 56"/>
                <a:gd name="T54" fmla="*/ 24 w 56"/>
                <a:gd name="T55" fmla="*/ 56 h 56"/>
                <a:gd name="T56" fmla="*/ 28 w 56"/>
                <a:gd name="T57" fmla="*/ 56 h 56"/>
                <a:gd name="T58" fmla="*/ 28 w 56"/>
                <a:gd name="T59" fmla="*/ 46 h 56"/>
                <a:gd name="T60" fmla="*/ 28 w 56"/>
                <a:gd name="T61" fmla="*/ 46 h 56"/>
                <a:gd name="T62" fmla="*/ 10 w 56"/>
                <a:gd name="T63" fmla="*/ 28 h 56"/>
                <a:gd name="T64" fmla="*/ 28 w 56"/>
                <a:gd name="T65" fmla="*/ 10 h 56"/>
                <a:gd name="T66" fmla="*/ 28 w 56"/>
                <a:gd name="T67" fmla="*/ 10 h 56"/>
                <a:gd name="T68" fmla="*/ 28 w 56"/>
                <a:gd name="T69" fmla="*/ 10 h 56"/>
                <a:gd name="T70" fmla="*/ 28 w 56"/>
                <a:gd name="T71" fmla="*/ 0 h 56"/>
                <a:gd name="T72" fmla="*/ 24 w 56"/>
                <a:gd name="T73" fmla="*/ 0 h 56"/>
                <a:gd name="T74" fmla="*/ 24 w 56"/>
                <a:gd name="T75" fmla="*/ 4 h 56"/>
                <a:gd name="T76" fmla="*/ 14 w 56"/>
                <a:gd name="T77" fmla="*/ 8 h 56"/>
                <a:gd name="T78" fmla="*/ 11 w 56"/>
                <a:gd name="T79" fmla="*/ 5 h 56"/>
                <a:gd name="T80" fmla="*/ 5 w 56"/>
                <a:gd name="T81" fmla="*/ 11 h 56"/>
                <a:gd name="T82" fmla="*/ 8 w 56"/>
                <a:gd name="T83" fmla="*/ 14 h 56"/>
                <a:gd name="T84" fmla="*/ 4 w 56"/>
                <a:gd name="T85" fmla="*/ 24 h 56"/>
                <a:gd name="T86" fmla="*/ 0 w 56"/>
                <a:gd name="T87" fmla="*/ 24 h 56"/>
                <a:gd name="T88" fmla="*/ 0 w 56"/>
                <a:gd name="T89" fmla="*/ 32 h 56"/>
                <a:gd name="T90" fmla="*/ 4 w 56"/>
                <a:gd name="T91" fmla="*/ 32 h 56"/>
                <a:gd name="T92" fmla="*/ 8 w 56"/>
                <a:gd name="T9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32" y="56"/>
                    <a:pt x="32" y="56"/>
                    <a:pt x="32" y="56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6" y="51"/>
                    <a:pt x="39" y="50"/>
                    <a:pt x="42" y="48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50" y="39"/>
                    <a:pt x="51" y="36"/>
                    <a:pt x="51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0" y="17"/>
                    <a:pt x="48" y="14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39" y="6"/>
                    <a:pt x="36" y="5"/>
                    <a:pt x="32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8" y="10"/>
                    <a:pt x="46" y="18"/>
                    <a:pt x="46" y="28"/>
                  </a:cubicBezTo>
                  <a:cubicBezTo>
                    <a:pt x="46" y="38"/>
                    <a:pt x="38" y="46"/>
                    <a:pt x="28" y="46"/>
                  </a:cubicBezTo>
                  <a:lnTo>
                    <a:pt x="28" y="56"/>
                  </a:lnTo>
                  <a:close/>
                  <a:moveTo>
                    <a:pt x="8" y="42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7" y="50"/>
                    <a:pt x="20" y="51"/>
                    <a:pt x="24" y="51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18" y="46"/>
                    <a:pt x="10" y="38"/>
                    <a:pt x="10" y="28"/>
                  </a:cubicBezTo>
                  <a:cubicBezTo>
                    <a:pt x="10" y="18"/>
                    <a:pt x="1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0" y="5"/>
                    <a:pt x="17" y="6"/>
                    <a:pt x="14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6" y="17"/>
                    <a:pt x="5" y="20"/>
                    <a:pt x="4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5" y="36"/>
                    <a:pt x="6" y="39"/>
                    <a:pt x="8" y="4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2" name="椭圆 1661"/>
            <p:cNvSpPr/>
            <p:nvPr>
              <p:custDataLst>
                <p:tags r:id="rId254"/>
              </p:custDataLst>
            </p:nvPr>
          </p:nvSpPr>
          <p:spPr bwMode="auto">
            <a:xfrm flipH="1">
              <a:off x="3187414" y="3207001"/>
              <a:ext cx="86619" cy="8166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3" name="矩形 1662"/>
            <p:cNvSpPr/>
            <p:nvPr>
              <p:custDataLst>
                <p:tags r:id="rId255"/>
              </p:custDataLst>
            </p:nvPr>
          </p:nvSpPr>
          <p:spPr bwMode="auto">
            <a:xfrm flipH="1">
              <a:off x="3223885" y="3187228"/>
              <a:ext cx="10941" cy="1375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4" name="矩形 1663"/>
            <p:cNvSpPr/>
            <p:nvPr>
              <p:custDataLst>
                <p:tags r:id="rId256"/>
              </p:custDataLst>
            </p:nvPr>
          </p:nvSpPr>
          <p:spPr bwMode="auto">
            <a:xfrm flipH="1">
              <a:off x="3165531" y="3242247"/>
              <a:ext cx="15502" cy="94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5" name="矩形 1664"/>
            <p:cNvSpPr/>
            <p:nvPr>
              <p:custDataLst>
                <p:tags r:id="rId257"/>
              </p:custDataLst>
            </p:nvPr>
          </p:nvSpPr>
          <p:spPr bwMode="auto">
            <a:xfrm flipH="1">
              <a:off x="3223885" y="3294686"/>
              <a:ext cx="10941" cy="14614"/>
            </a:xfrm>
            <a:prstGeom prst="rect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6" name="矩形 1665"/>
            <p:cNvSpPr/>
            <p:nvPr>
              <p:custDataLst>
                <p:tags r:id="rId258"/>
              </p:custDataLst>
            </p:nvPr>
          </p:nvSpPr>
          <p:spPr bwMode="auto">
            <a:xfrm flipH="1">
              <a:off x="3280416" y="3242247"/>
              <a:ext cx="14587" cy="94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7" name="任意多边形: 形状 1666"/>
            <p:cNvSpPr/>
            <p:nvPr>
              <p:custDataLst>
                <p:tags r:id="rId259"/>
              </p:custDataLst>
            </p:nvPr>
          </p:nvSpPr>
          <p:spPr bwMode="auto">
            <a:xfrm flipH="1">
              <a:off x="3181031" y="3200983"/>
              <a:ext cx="17324" cy="16334"/>
            </a:xfrm>
            <a:custGeom>
              <a:avLst/>
              <a:gdLst>
                <a:gd name="T0" fmla="*/ 19 w 19"/>
                <a:gd name="T1" fmla="*/ 7 h 19"/>
                <a:gd name="T2" fmla="*/ 7 w 19"/>
                <a:gd name="T3" fmla="*/ 19 h 19"/>
                <a:gd name="T4" fmla="*/ 0 w 19"/>
                <a:gd name="T5" fmla="*/ 12 h 19"/>
                <a:gd name="T6" fmla="*/ 12 w 19"/>
                <a:gd name="T7" fmla="*/ 0 h 19"/>
                <a:gd name="T8" fmla="*/ 19 w 19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7"/>
                  </a:moveTo>
                  <a:lnTo>
                    <a:pt x="7" y="19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9" y="7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8" name="任意多边形: 形状 1667"/>
            <p:cNvSpPr/>
            <p:nvPr>
              <p:custDataLst>
                <p:tags r:id="rId260"/>
              </p:custDataLst>
            </p:nvPr>
          </p:nvSpPr>
          <p:spPr bwMode="auto">
            <a:xfrm flipH="1">
              <a:off x="3181031" y="3276633"/>
              <a:ext cx="17324" cy="18053"/>
            </a:xfrm>
            <a:custGeom>
              <a:avLst/>
              <a:gdLst>
                <a:gd name="T0" fmla="*/ 7 w 19"/>
                <a:gd name="T1" fmla="*/ 0 h 21"/>
                <a:gd name="T2" fmla="*/ 19 w 19"/>
                <a:gd name="T3" fmla="*/ 12 h 21"/>
                <a:gd name="T4" fmla="*/ 12 w 19"/>
                <a:gd name="T5" fmla="*/ 21 h 21"/>
                <a:gd name="T6" fmla="*/ 0 w 19"/>
                <a:gd name="T7" fmla="*/ 9 h 21"/>
                <a:gd name="T8" fmla="*/ 7 w 19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7" y="0"/>
                  </a:moveTo>
                  <a:lnTo>
                    <a:pt x="19" y="12"/>
                  </a:lnTo>
                  <a:lnTo>
                    <a:pt x="12" y="21"/>
                  </a:lnTo>
                  <a:lnTo>
                    <a:pt x="0" y="9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69" name="任意多边形: 形状 1668"/>
            <p:cNvSpPr/>
            <p:nvPr>
              <p:custDataLst>
                <p:tags r:id="rId261"/>
              </p:custDataLst>
            </p:nvPr>
          </p:nvSpPr>
          <p:spPr bwMode="auto">
            <a:xfrm flipH="1">
              <a:off x="3260356" y="3276633"/>
              <a:ext cx="20059" cy="18053"/>
            </a:xfrm>
            <a:custGeom>
              <a:avLst/>
              <a:gdLst>
                <a:gd name="T0" fmla="*/ 12 w 22"/>
                <a:gd name="T1" fmla="*/ 0 h 21"/>
                <a:gd name="T2" fmla="*/ 22 w 22"/>
                <a:gd name="T3" fmla="*/ 9 h 21"/>
                <a:gd name="T4" fmla="*/ 10 w 22"/>
                <a:gd name="T5" fmla="*/ 21 h 21"/>
                <a:gd name="T6" fmla="*/ 0 w 22"/>
                <a:gd name="T7" fmla="*/ 12 h 21"/>
                <a:gd name="T8" fmla="*/ 12 w 2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2" y="0"/>
                  </a:moveTo>
                  <a:lnTo>
                    <a:pt x="22" y="9"/>
                  </a:lnTo>
                  <a:lnTo>
                    <a:pt x="10" y="21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0" name="任意多边形: 形状 1669"/>
            <p:cNvSpPr/>
            <p:nvPr>
              <p:custDataLst>
                <p:tags r:id="rId262"/>
              </p:custDataLst>
            </p:nvPr>
          </p:nvSpPr>
          <p:spPr bwMode="auto">
            <a:xfrm flipH="1">
              <a:off x="3260356" y="3200983"/>
              <a:ext cx="20059" cy="16334"/>
            </a:xfrm>
            <a:custGeom>
              <a:avLst/>
              <a:gdLst>
                <a:gd name="T0" fmla="*/ 22 w 22"/>
                <a:gd name="T1" fmla="*/ 12 h 19"/>
                <a:gd name="T2" fmla="*/ 12 w 22"/>
                <a:gd name="T3" fmla="*/ 19 h 19"/>
                <a:gd name="T4" fmla="*/ 0 w 22"/>
                <a:gd name="T5" fmla="*/ 7 h 19"/>
                <a:gd name="T6" fmla="*/ 10 w 22"/>
                <a:gd name="T7" fmla="*/ 0 h 19"/>
                <a:gd name="T8" fmla="*/ 22 w 22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22" y="12"/>
                  </a:moveTo>
                  <a:lnTo>
                    <a:pt x="12" y="19"/>
                  </a:lnTo>
                  <a:lnTo>
                    <a:pt x="0" y="7"/>
                  </a:lnTo>
                  <a:lnTo>
                    <a:pt x="10" y="0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1" name="任意多边形: 形状 1670"/>
            <p:cNvSpPr/>
            <p:nvPr>
              <p:custDataLst>
                <p:tags r:id="rId263"/>
              </p:custDataLst>
            </p:nvPr>
          </p:nvSpPr>
          <p:spPr bwMode="auto">
            <a:xfrm flipH="1">
              <a:off x="3200178" y="3188948"/>
              <a:ext cx="15502" cy="16334"/>
            </a:xfrm>
            <a:custGeom>
              <a:avLst/>
              <a:gdLst>
                <a:gd name="T0" fmla="*/ 17 w 17"/>
                <a:gd name="T1" fmla="*/ 5 h 19"/>
                <a:gd name="T2" fmla="*/ 10 w 17"/>
                <a:gd name="T3" fmla="*/ 19 h 19"/>
                <a:gd name="T4" fmla="*/ 0 w 17"/>
                <a:gd name="T5" fmla="*/ 17 h 19"/>
                <a:gd name="T6" fmla="*/ 5 w 17"/>
                <a:gd name="T7" fmla="*/ 0 h 19"/>
                <a:gd name="T8" fmla="*/ 17 w 17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9">
                  <a:moveTo>
                    <a:pt x="17" y="5"/>
                  </a:moveTo>
                  <a:lnTo>
                    <a:pt x="10" y="19"/>
                  </a:lnTo>
                  <a:lnTo>
                    <a:pt x="0" y="17"/>
                  </a:lnTo>
                  <a:lnTo>
                    <a:pt x="5" y="0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2" name="任意多边形: 形状 1671"/>
            <p:cNvSpPr/>
            <p:nvPr>
              <p:custDataLst>
                <p:tags r:id="rId264"/>
              </p:custDataLst>
            </p:nvPr>
          </p:nvSpPr>
          <p:spPr bwMode="auto">
            <a:xfrm flipH="1">
              <a:off x="3168267" y="3260299"/>
              <a:ext cx="17324" cy="16334"/>
            </a:xfrm>
            <a:custGeom>
              <a:avLst/>
              <a:gdLst>
                <a:gd name="T0" fmla="*/ 5 w 19"/>
                <a:gd name="T1" fmla="*/ 0 h 19"/>
                <a:gd name="T2" fmla="*/ 19 w 19"/>
                <a:gd name="T3" fmla="*/ 7 h 19"/>
                <a:gd name="T4" fmla="*/ 15 w 19"/>
                <a:gd name="T5" fmla="*/ 19 h 19"/>
                <a:gd name="T6" fmla="*/ 0 w 19"/>
                <a:gd name="T7" fmla="*/ 12 h 19"/>
                <a:gd name="T8" fmla="*/ 5 w 1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5" y="0"/>
                  </a:moveTo>
                  <a:lnTo>
                    <a:pt x="19" y="7"/>
                  </a:lnTo>
                  <a:lnTo>
                    <a:pt x="15" y="19"/>
                  </a:lnTo>
                  <a:lnTo>
                    <a:pt x="0" y="1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3" name="任意多边形: 形状 1672"/>
            <p:cNvSpPr/>
            <p:nvPr>
              <p:custDataLst>
                <p:tags r:id="rId265"/>
              </p:custDataLst>
            </p:nvPr>
          </p:nvSpPr>
          <p:spPr bwMode="auto">
            <a:xfrm flipH="1">
              <a:off x="3243032" y="3288668"/>
              <a:ext cx="17324" cy="18053"/>
            </a:xfrm>
            <a:custGeom>
              <a:avLst/>
              <a:gdLst>
                <a:gd name="T0" fmla="*/ 19 w 19"/>
                <a:gd name="T1" fmla="*/ 5 h 21"/>
                <a:gd name="T2" fmla="*/ 12 w 19"/>
                <a:gd name="T3" fmla="*/ 21 h 21"/>
                <a:gd name="T4" fmla="*/ 0 w 19"/>
                <a:gd name="T5" fmla="*/ 17 h 21"/>
                <a:gd name="T6" fmla="*/ 7 w 19"/>
                <a:gd name="T7" fmla="*/ 0 h 21"/>
                <a:gd name="T8" fmla="*/ 19 w 19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19" y="5"/>
                  </a:moveTo>
                  <a:lnTo>
                    <a:pt x="12" y="21"/>
                  </a:lnTo>
                  <a:lnTo>
                    <a:pt x="0" y="17"/>
                  </a:lnTo>
                  <a:lnTo>
                    <a:pt x="7" y="0"/>
                  </a:lnTo>
                  <a:lnTo>
                    <a:pt x="19" y="5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4" name="任意多边形: 形状 1673"/>
            <p:cNvSpPr/>
            <p:nvPr>
              <p:custDataLst>
                <p:tags r:id="rId266"/>
              </p:custDataLst>
            </p:nvPr>
          </p:nvSpPr>
          <p:spPr bwMode="auto">
            <a:xfrm flipH="1">
              <a:off x="3274033" y="3219895"/>
              <a:ext cx="19148" cy="13755"/>
            </a:xfrm>
            <a:custGeom>
              <a:avLst/>
              <a:gdLst>
                <a:gd name="T0" fmla="*/ 17 w 21"/>
                <a:gd name="T1" fmla="*/ 16 h 16"/>
                <a:gd name="T2" fmla="*/ 0 w 21"/>
                <a:gd name="T3" fmla="*/ 11 h 16"/>
                <a:gd name="T4" fmla="*/ 5 w 21"/>
                <a:gd name="T5" fmla="*/ 0 h 16"/>
                <a:gd name="T6" fmla="*/ 21 w 21"/>
                <a:gd name="T7" fmla="*/ 7 h 16"/>
                <a:gd name="T8" fmla="*/ 17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7" y="16"/>
                  </a:moveTo>
                  <a:lnTo>
                    <a:pt x="0" y="11"/>
                  </a:lnTo>
                  <a:lnTo>
                    <a:pt x="5" y="0"/>
                  </a:lnTo>
                  <a:lnTo>
                    <a:pt x="21" y="7"/>
                  </a:lnTo>
                  <a:lnTo>
                    <a:pt x="17" y="16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5" name="任意多边形: 形状 1674"/>
            <p:cNvSpPr/>
            <p:nvPr>
              <p:custDataLst>
                <p:tags r:id="rId267"/>
              </p:custDataLst>
            </p:nvPr>
          </p:nvSpPr>
          <p:spPr bwMode="auto">
            <a:xfrm flipH="1">
              <a:off x="3168267" y="3219895"/>
              <a:ext cx="17324" cy="13755"/>
            </a:xfrm>
            <a:custGeom>
              <a:avLst/>
              <a:gdLst>
                <a:gd name="T0" fmla="*/ 0 w 19"/>
                <a:gd name="T1" fmla="*/ 7 h 16"/>
                <a:gd name="T2" fmla="*/ 15 w 19"/>
                <a:gd name="T3" fmla="*/ 0 h 16"/>
                <a:gd name="T4" fmla="*/ 19 w 19"/>
                <a:gd name="T5" fmla="*/ 11 h 16"/>
                <a:gd name="T6" fmla="*/ 5 w 19"/>
                <a:gd name="T7" fmla="*/ 16 h 16"/>
                <a:gd name="T8" fmla="*/ 0 w 19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6">
                  <a:moveTo>
                    <a:pt x="0" y="7"/>
                  </a:moveTo>
                  <a:lnTo>
                    <a:pt x="15" y="0"/>
                  </a:lnTo>
                  <a:lnTo>
                    <a:pt x="19" y="11"/>
                  </a:lnTo>
                  <a:lnTo>
                    <a:pt x="5" y="16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6" name="任意多边形: 形状 1675"/>
            <p:cNvSpPr/>
            <p:nvPr>
              <p:custDataLst>
                <p:tags r:id="rId268"/>
              </p:custDataLst>
            </p:nvPr>
          </p:nvSpPr>
          <p:spPr bwMode="auto">
            <a:xfrm flipH="1">
              <a:off x="3200178" y="3288668"/>
              <a:ext cx="15502" cy="18053"/>
            </a:xfrm>
            <a:custGeom>
              <a:avLst/>
              <a:gdLst>
                <a:gd name="T0" fmla="*/ 17 w 17"/>
                <a:gd name="T1" fmla="*/ 17 h 21"/>
                <a:gd name="T2" fmla="*/ 7 w 17"/>
                <a:gd name="T3" fmla="*/ 21 h 21"/>
                <a:gd name="T4" fmla="*/ 0 w 17"/>
                <a:gd name="T5" fmla="*/ 5 h 21"/>
                <a:gd name="T6" fmla="*/ 12 w 17"/>
                <a:gd name="T7" fmla="*/ 0 h 21"/>
                <a:gd name="T8" fmla="*/ 17 w 17"/>
                <a:gd name="T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1">
                  <a:moveTo>
                    <a:pt x="17" y="17"/>
                  </a:moveTo>
                  <a:lnTo>
                    <a:pt x="7" y="21"/>
                  </a:lnTo>
                  <a:lnTo>
                    <a:pt x="0" y="5"/>
                  </a:lnTo>
                  <a:lnTo>
                    <a:pt x="12" y="0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7" name="任意多边形: 形状 1676"/>
            <p:cNvSpPr/>
            <p:nvPr>
              <p:custDataLst>
                <p:tags r:id="rId269"/>
              </p:custDataLst>
            </p:nvPr>
          </p:nvSpPr>
          <p:spPr bwMode="auto">
            <a:xfrm flipH="1">
              <a:off x="3274033" y="3260299"/>
              <a:ext cx="19148" cy="16334"/>
            </a:xfrm>
            <a:custGeom>
              <a:avLst/>
              <a:gdLst>
                <a:gd name="T0" fmla="*/ 21 w 21"/>
                <a:gd name="T1" fmla="*/ 12 h 19"/>
                <a:gd name="T2" fmla="*/ 5 w 21"/>
                <a:gd name="T3" fmla="*/ 19 h 19"/>
                <a:gd name="T4" fmla="*/ 0 w 21"/>
                <a:gd name="T5" fmla="*/ 7 h 19"/>
                <a:gd name="T6" fmla="*/ 17 w 21"/>
                <a:gd name="T7" fmla="*/ 0 h 19"/>
                <a:gd name="T8" fmla="*/ 21 w 21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21" y="12"/>
                  </a:moveTo>
                  <a:lnTo>
                    <a:pt x="5" y="19"/>
                  </a:lnTo>
                  <a:lnTo>
                    <a:pt x="0" y="7"/>
                  </a:lnTo>
                  <a:lnTo>
                    <a:pt x="17" y="0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8" name="任意多边形: 形状 1677"/>
            <p:cNvSpPr/>
            <p:nvPr>
              <p:custDataLst>
                <p:tags r:id="rId270"/>
              </p:custDataLst>
            </p:nvPr>
          </p:nvSpPr>
          <p:spPr bwMode="auto">
            <a:xfrm flipH="1">
              <a:off x="3243032" y="3188948"/>
              <a:ext cx="17324" cy="18053"/>
            </a:xfrm>
            <a:custGeom>
              <a:avLst/>
              <a:gdLst>
                <a:gd name="T0" fmla="*/ 19 w 19"/>
                <a:gd name="T1" fmla="*/ 17 h 21"/>
                <a:gd name="T2" fmla="*/ 7 w 19"/>
                <a:gd name="T3" fmla="*/ 21 h 21"/>
                <a:gd name="T4" fmla="*/ 0 w 19"/>
                <a:gd name="T5" fmla="*/ 5 h 21"/>
                <a:gd name="T6" fmla="*/ 12 w 19"/>
                <a:gd name="T7" fmla="*/ 0 h 21"/>
                <a:gd name="T8" fmla="*/ 19 w 19"/>
                <a:gd name="T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19" y="17"/>
                  </a:moveTo>
                  <a:lnTo>
                    <a:pt x="7" y="21"/>
                  </a:lnTo>
                  <a:lnTo>
                    <a:pt x="0" y="5"/>
                  </a:lnTo>
                  <a:lnTo>
                    <a:pt x="12" y="0"/>
                  </a:lnTo>
                  <a:lnTo>
                    <a:pt x="19" y="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79" name="任意多边形: 形状 1678"/>
            <p:cNvSpPr/>
            <p:nvPr>
              <p:custDataLst>
                <p:tags r:id="rId271"/>
              </p:custDataLst>
            </p:nvPr>
          </p:nvSpPr>
          <p:spPr bwMode="auto">
            <a:xfrm flipH="1">
              <a:off x="3413536" y="1570211"/>
              <a:ext cx="108502" cy="104019"/>
            </a:xfrm>
            <a:custGeom>
              <a:avLst/>
              <a:gdLst>
                <a:gd name="T0" fmla="*/ 25 w 50"/>
                <a:gd name="T1" fmla="*/ 51 h 51"/>
                <a:gd name="T2" fmla="*/ 50 w 50"/>
                <a:gd name="T3" fmla="*/ 25 h 51"/>
                <a:gd name="T4" fmla="*/ 25 w 50"/>
                <a:gd name="T5" fmla="*/ 0 h 51"/>
                <a:gd name="T6" fmla="*/ 25 w 50"/>
                <a:gd name="T7" fmla="*/ 0 h 51"/>
                <a:gd name="T8" fmla="*/ 25 w 50"/>
                <a:gd name="T9" fmla="*/ 18 h 51"/>
                <a:gd name="T10" fmla="*/ 38 w 50"/>
                <a:gd name="T11" fmla="*/ 13 h 51"/>
                <a:gd name="T12" fmla="*/ 30 w 50"/>
                <a:gd name="T13" fmla="*/ 30 h 51"/>
                <a:gd name="T14" fmla="*/ 25 w 50"/>
                <a:gd name="T15" fmla="*/ 33 h 51"/>
                <a:gd name="T16" fmla="*/ 25 w 50"/>
                <a:gd name="T17" fmla="*/ 51 h 51"/>
                <a:gd name="T18" fmla="*/ 25 w 50"/>
                <a:gd name="T19" fmla="*/ 0 h 51"/>
                <a:gd name="T20" fmla="*/ 0 w 50"/>
                <a:gd name="T21" fmla="*/ 25 h 51"/>
                <a:gd name="T22" fmla="*/ 25 w 50"/>
                <a:gd name="T23" fmla="*/ 51 h 51"/>
                <a:gd name="T24" fmla="*/ 25 w 50"/>
                <a:gd name="T25" fmla="*/ 33 h 51"/>
                <a:gd name="T26" fmla="*/ 12 w 50"/>
                <a:gd name="T27" fmla="*/ 38 h 51"/>
                <a:gd name="T28" fmla="*/ 20 w 50"/>
                <a:gd name="T29" fmla="*/ 20 h 51"/>
                <a:gd name="T30" fmla="*/ 20 w 50"/>
                <a:gd name="T31" fmla="*/ 20 h 51"/>
                <a:gd name="T32" fmla="*/ 25 w 50"/>
                <a:gd name="T33" fmla="*/ 18 h 51"/>
                <a:gd name="T34" fmla="*/ 25 w 50"/>
                <a:gd name="T3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51">
                  <a:moveTo>
                    <a:pt x="25" y="51"/>
                  </a:moveTo>
                  <a:cubicBezTo>
                    <a:pt x="39" y="51"/>
                    <a:pt x="50" y="39"/>
                    <a:pt x="50" y="25"/>
                  </a:cubicBezTo>
                  <a:cubicBezTo>
                    <a:pt x="50" y="12"/>
                    <a:pt x="39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1"/>
                    <a:pt x="25" y="51"/>
                    <a:pt x="25" y="51"/>
                  </a:cubicBezTo>
                  <a:close/>
                  <a:moveTo>
                    <a:pt x="25" y="0"/>
                  </a:moveTo>
                  <a:cubicBezTo>
                    <a:pt x="11" y="0"/>
                    <a:pt x="0" y="12"/>
                    <a:pt x="0" y="25"/>
                  </a:cubicBezTo>
                  <a:cubicBezTo>
                    <a:pt x="0" y="39"/>
                    <a:pt x="11" y="51"/>
                    <a:pt x="25" y="51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5" y="18"/>
                    <a:pt x="25" y="18"/>
                    <a:pt x="25" y="18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0" name="椭圆 1679"/>
            <p:cNvSpPr/>
            <p:nvPr>
              <p:custDataLst>
                <p:tags r:id="rId272"/>
              </p:custDataLst>
            </p:nvPr>
          </p:nvSpPr>
          <p:spPr bwMode="auto">
            <a:xfrm flipH="1">
              <a:off x="3460947" y="1614914"/>
              <a:ext cx="13677" cy="12895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1" name="任意多边形: 形状 1680"/>
            <p:cNvSpPr/>
            <p:nvPr>
              <p:custDataLst>
                <p:tags r:id="rId273"/>
              </p:custDataLst>
            </p:nvPr>
          </p:nvSpPr>
          <p:spPr bwMode="auto">
            <a:xfrm flipH="1">
              <a:off x="1946483" y="2251920"/>
              <a:ext cx="129472" cy="122071"/>
            </a:xfrm>
            <a:custGeom>
              <a:avLst/>
              <a:gdLst>
                <a:gd name="T0" fmla="*/ 30 w 60"/>
                <a:gd name="T1" fmla="*/ 60 h 60"/>
                <a:gd name="T2" fmla="*/ 35 w 60"/>
                <a:gd name="T3" fmla="*/ 60 h 60"/>
                <a:gd name="T4" fmla="*/ 35 w 60"/>
                <a:gd name="T5" fmla="*/ 55 h 60"/>
                <a:gd name="T6" fmla="*/ 45 w 60"/>
                <a:gd name="T7" fmla="*/ 51 h 60"/>
                <a:gd name="T8" fmla="*/ 48 w 60"/>
                <a:gd name="T9" fmla="*/ 54 h 60"/>
                <a:gd name="T10" fmla="*/ 55 w 60"/>
                <a:gd name="T11" fmla="*/ 48 h 60"/>
                <a:gd name="T12" fmla="*/ 52 w 60"/>
                <a:gd name="T13" fmla="*/ 45 h 60"/>
                <a:gd name="T14" fmla="*/ 56 w 60"/>
                <a:gd name="T15" fmla="*/ 35 h 60"/>
                <a:gd name="T16" fmla="*/ 60 w 60"/>
                <a:gd name="T17" fmla="*/ 35 h 60"/>
                <a:gd name="T18" fmla="*/ 60 w 60"/>
                <a:gd name="T19" fmla="*/ 25 h 60"/>
                <a:gd name="T20" fmla="*/ 56 w 60"/>
                <a:gd name="T21" fmla="*/ 25 h 60"/>
                <a:gd name="T22" fmla="*/ 52 w 60"/>
                <a:gd name="T23" fmla="*/ 15 h 60"/>
                <a:gd name="T24" fmla="*/ 55 w 60"/>
                <a:gd name="T25" fmla="*/ 12 h 60"/>
                <a:gd name="T26" fmla="*/ 48 w 60"/>
                <a:gd name="T27" fmla="*/ 5 h 60"/>
                <a:gd name="T28" fmla="*/ 45 w 60"/>
                <a:gd name="T29" fmla="*/ 8 h 60"/>
                <a:gd name="T30" fmla="*/ 35 w 60"/>
                <a:gd name="T31" fmla="*/ 4 h 60"/>
                <a:gd name="T32" fmla="*/ 35 w 60"/>
                <a:gd name="T33" fmla="*/ 0 h 60"/>
                <a:gd name="T34" fmla="*/ 30 w 60"/>
                <a:gd name="T35" fmla="*/ 0 h 60"/>
                <a:gd name="T36" fmla="*/ 30 w 60"/>
                <a:gd name="T37" fmla="*/ 11 h 60"/>
                <a:gd name="T38" fmla="*/ 30 w 60"/>
                <a:gd name="T39" fmla="*/ 11 h 60"/>
                <a:gd name="T40" fmla="*/ 49 w 60"/>
                <a:gd name="T41" fmla="*/ 30 h 60"/>
                <a:gd name="T42" fmla="*/ 30 w 60"/>
                <a:gd name="T43" fmla="*/ 49 h 60"/>
                <a:gd name="T44" fmla="*/ 30 w 60"/>
                <a:gd name="T45" fmla="*/ 60 h 60"/>
                <a:gd name="T46" fmla="*/ 9 w 60"/>
                <a:gd name="T47" fmla="*/ 45 h 60"/>
                <a:gd name="T48" fmla="*/ 6 w 60"/>
                <a:gd name="T49" fmla="*/ 48 h 60"/>
                <a:gd name="T50" fmla="*/ 12 w 60"/>
                <a:gd name="T51" fmla="*/ 54 h 60"/>
                <a:gd name="T52" fmla="*/ 15 w 60"/>
                <a:gd name="T53" fmla="*/ 51 h 60"/>
                <a:gd name="T54" fmla="*/ 25 w 60"/>
                <a:gd name="T55" fmla="*/ 55 h 60"/>
                <a:gd name="T56" fmla="*/ 25 w 60"/>
                <a:gd name="T57" fmla="*/ 60 h 60"/>
                <a:gd name="T58" fmla="*/ 30 w 60"/>
                <a:gd name="T59" fmla="*/ 60 h 60"/>
                <a:gd name="T60" fmla="*/ 30 w 60"/>
                <a:gd name="T61" fmla="*/ 49 h 60"/>
                <a:gd name="T62" fmla="*/ 11 w 60"/>
                <a:gd name="T63" fmla="*/ 30 h 60"/>
                <a:gd name="T64" fmla="*/ 30 w 60"/>
                <a:gd name="T65" fmla="*/ 11 h 60"/>
                <a:gd name="T66" fmla="*/ 30 w 60"/>
                <a:gd name="T67" fmla="*/ 0 h 60"/>
                <a:gd name="T68" fmla="*/ 25 w 60"/>
                <a:gd name="T69" fmla="*/ 0 h 60"/>
                <a:gd name="T70" fmla="*/ 25 w 60"/>
                <a:gd name="T71" fmla="*/ 4 h 60"/>
                <a:gd name="T72" fmla="*/ 15 w 60"/>
                <a:gd name="T73" fmla="*/ 8 h 60"/>
                <a:gd name="T74" fmla="*/ 12 w 60"/>
                <a:gd name="T75" fmla="*/ 5 h 60"/>
                <a:gd name="T76" fmla="*/ 6 w 60"/>
                <a:gd name="T77" fmla="*/ 12 h 60"/>
                <a:gd name="T78" fmla="*/ 9 w 60"/>
                <a:gd name="T79" fmla="*/ 15 h 60"/>
                <a:gd name="T80" fmla="*/ 5 w 60"/>
                <a:gd name="T81" fmla="*/ 25 h 60"/>
                <a:gd name="T82" fmla="*/ 0 w 60"/>
                <a:gd name="T83" fmla="*/ 25 h 60"/>
                <a:gd name="T84" fmla="*/ 0 w 60"/>
                <a:gd name="T85" fmla="*/ 35 h 60"/>
                <a:gd name="T86" fmla="*/ 5 w 60"/>
                <a:gd name="T87" fmla="*/ 35 h 60"/>
                <a:gd name="T88" fmla="*/ 9 w 60"/>
                <a:gd name="T89" fmla="*/ 45 h 60"/>
                <a:gd name="T90" fmla="*/ 30 w 60"/>
                <a:gd name="T91" fmla="*/ 11 h 60"/>
                <a:gd name="T92" fmla="*/ 30 w 60"/>
                <a:gd name="T93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9" y="55"/>
                    <a:pt x="42" y="53"/>
                    <a:pt x="45" y="51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4" y="42"/>
                    <a:pt x="55" y="38"/>
                    <a:pt x="56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5" y="21"/>
                    <a:pt x="54" y="18"/>
                    <a:pt x="52" y="15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2" y="6"/>
                    <a:pt x="39" y="5"/>
                    <a:pt x="35" y="4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41" y="11"/>
                    <a:pt x="49" y="19"/>
                    <a:pt x="49" y="30"/>
                  </a:cubicBezTo>
                  <a:cubicBezTo>
                    <a:pt x="49" y="40"/>
                    <a:pt x="41" y="49"/>
                    <a:pt x="30" y="49"/>
                  </a:cubicBezTo>
                  <a:lnTo>
                    <a:pt x="30" y="60"/>
                  </a:lnTo>
                  <a:close/>
                  <a:moveTo>
                    <a:pt x="9" y="45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8" y="53"/>
                    <a:pt x="22" y="55"/>
                    <a:pt x="25" y="55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20" y="49"/>
                    <a:pt x="11" y="40"/>
                    <a:pt x="11" y="30"/>
                  </a:cubicBezTo>
                  <a:cubicBezTo>
                    <a:pt x="11" y="19"/>
                    <a:pt x="20" y="11"/>
                    <a:pt x="30" y="1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2" y="5"/>
                    <a:pt x="18" y="6"/>
                    <a:pt x="15" y="8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7" y="18"/>
                    <a:pt x="5" y="21"/>
                    <a:pt x="5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8"/>
                    <a:pt x="7" y="42"/>
                    <a:pt x="9" y="45"/>
                  </a:cubicBezTo>
                  <a:close/>
                  <a:moveTo>
                    <a:pt x="30" y="11"/>
                  </a:moveTo>
                  <a:cubicBezTo>
                    <a:pt x="30" y="11"/>
                    <a:pt x="30" y="11"/>
                    <a:pt x="30" y="11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2" name="矩形 1681"/>
            <p:cNvSpPr/>
            <p:nvPr>
              <p:custDataLst>
                <p:tags r:id="rId274"/>
              </p:custDataLst>
            </p:nvPr>
          </p:nvSpPr>
          <p:spPr bwMode="auto">
            <a:xfrm flipH="1">
              <a:off x="2233693" y="2581170"/>
              <a:ext cx="151355" cy="1633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3" name="任意多边形: 形状 1682"/>
            <p:cNvSpPr/>
            <p:nvPr>
              <p:custDataLst>
                <p:tags r:id="rId275"/>
              </p:custDataLst>
            </p:nvPr>
          </p:nvSpPr>
          <p:spPr bwMode="auto">
            <a:xfrm flipH="1">
              <a:off x="2233693" y="2613837"/>
              <a:ext cx="151355" cy="56737"/>
            </a:xfrm>
            <a:custGeom>
              <a:avLst/>
              <a:gdLst>
                <a:gd name="T0" fmla="*/ 140 w 166"/>
                <a:gd name="T1" fmla="*/ 66 h 66"/>
                <a:gd name="T2" fmla="*/ 166 w 166"/>
                <a:gd name="T3" fmla="*/ 66 h 66"/>
                <a:gd name="T4" fmla="*/ 166 w 166"/>
                <a:gd name="T5" fmla="*/ 0 h 66"/>
                <a:gd name="T6" fmla="*/ 140 w 166"/>
                <a:gd name="T7" fmla="*/ 0 h 66"/>
                <a:gd name="T8" fmla="*/ 140 w 166"/>
                <a:gd name="T9" fmla="*/ 33 h 66"/>
                <a:gd name="T10" fmla="*/ 140 w 166"/>
                <a:gd name="T11" fmla="*/ 33 h 66"/>
                <a:gd name="T12" fmla="*/ 152 w 166"/>
                <a:gd name="T13" fmla="*/ 45 h 66"/>
                <a:gd name="T14" fmla="*/ 140 w 166"/>
                <a:gd name="T15" fmla="*/ 57 h 66"/>
                <a:gd name="T16" fmla="*/ 140 w 166"/>
                <a:gd name="T17" fmla="*/ 66 h 66"/>
                <a:gd name="T18" fmla="*/ 0 w 166"/>
                <a:gd name="T19" fmla="*/ 66 h 66"/>
                <a:gd name="T20" fmla="*/ 140 w 166"/>
                <a:gd name="T21" fmla="*/ 66 h 66"/>
                <a:gd name="T22" fmla="*/ 140 w 166"/>
                <a:gd name="T23" fmla="*/ 57 h 66"/>
                <a:gd name="T24" fmla="*/ 128 w 166"/>
                <a:gd name="T25" fmla="*/ 45 h 66"/>
                <a:gd name="T26" fmla="*/ 140 w 166"/>
                <a:gd name="T27" fmla="*/ 33 h 66"/>
                <a:gd name="T28" fmla="*/ 140 w 166"/>
                <a:gd name="T29" fmla="*/ 0 h 66"/>
                <a:gd name="T30" fmla="*/ 0 w 166"/>
                <a:gd name="T31" fmla="*/ 0 h 66"/>
                <a:gd name="T32" fmla="*/ 0 w 166"/>
                <a:gd name="T33" fmla="*/ 66 h 66"/>
                <a:gd name="T34" fmla="*/ 0 w 166"/>
                <a:gd name="T35" fmla="*/ 66 h 66"/>
                <a:gd name="T36" fmla="*/ 140 w 166"/>
                <a:gd name="T37" fmla="*/ 33 h 66"/>
                <a:gd name="T38" fmla="*/ 140 w 166"/>
                <a:gd name="T3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66">
                  <a:moveTo>
                    <a:pt x="140" y="66"/>
                  </a:moveTo>
                  <a:lnTo>
                    <a:pt x="166" y="66"/>
                  </a:lnTo>
                  <a:lnTo>
                    <a:pt x="166" y="0"/>
                  </a:lnTo>
                  <a:lnTo>
                    <a:pt x="140" y="0"/>
                  </a:lnTo>
                  <a:lnTo>
                    <a:pt x="140" y="33"/>
                  </a:lnTo>
                  <a:lnTo>
                    <a:pt x="140" y="33"/>
                  </a:lnTo>
                  <a:lnTo>
                    <a:pt x="152" y="45"/>
                  </a:lnTo>
                  <a:lnTo>
                    <a:pt x="140" y="57"/>
                  </a:lnTo>
                  <a:lnTo>
                    <a:pt x="140" y="66"/>
                  </a:lnTo>
                  <a:close/>
                  <a:moveTo>
                    <a:pt x="0" y="66"/>
                  </a:moveTo>
                  <a:lnTo>
                    <a:pt x="140" y="66"/>
                  </a:lnTo>
                  <a:lnTo>
                    <a:pt x="140" y="57"/>
                  </a:lnTo>
                  <a:lnTo>
                    <a:pt x="128" y="45"/>
                  </a:lnTo>
                  <a:lnTo>
                    <a:pt x="140" y="33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0" y="66"/>
                  </a:lnTo>
                  <a:close/>
                  <a:moveTo>
                    <a:pt x="140" y="33"/>
                  </a:moveTo>
                  <a:lnTo>
                    <a:pt x="140" y="3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4" name="任意多边形: 形状 1683"/>
            <p:cNvSpPr/>
            <p:nvPr>
              <p:custDataLst>
                <p:tags r:id="rId276"/>
              </p:custDataLst>
            </p:nvPr>
          </p:nvSpPr>
          <p:spPr bwMode="auto">
            <a:xfrm flipH="1">
              <a:off x="2233693" y="2613837"/>
              <a:ext cx="151355" cy="56737"/>
            </a:xfrm>
            <a:custGeom>
              <a:avLst/>
              <a:gdLst>
                <a:gd name="T0" fmla="*/ 140 w 166"/>
                <a:gd name="T1" fmla="*/ 66 h 66"/>
                <a:gd name="T2" fmla="*/ 166 w 166"/>
                <a:gd name="T3" fmla="*/ 66 h 66"/>
                <a:gd name="T4" fmla="*/ 166 w 166"/>
                <a:gd name="T5" fmla="*/ 0 h 66"/>
                <a:gd name="T6" fmla="*/ 140 w 166"/>
                <a:gd name="T7" fmla="*/ 0 h 66"/>
                <a:gd name="T8" fmla="*/ 140 w 166"/>
                <a:gd name="T9" fmla="*/ 33 h 66"/>
                <a:gd name="T10" fmla="*/ 140 w 166"/>
                <a:gd name="T11" fmla="*/ 33 h 66"/>
                <a:gd name="T12" fmla="*/ 152 w 166"/>
                <a:gd name="T13" fmla="*/ 45 h 66"/>
                <a:gd name="T14" fmla="*/ 140 w 166"/>
                <a:gd name="T15" fmla="*/ 57 h 66"/>
                <a:gd name="T16" fmla="*/ 140 w 166"/>
                <a:gd name="T17" fmla="*/ 66 h 66"/>
                <a:gd name="T18" fmla="*/ 0 w 166"/>
                <a:gd name="T19" fmla="*/ 66 h 66"/>
                <a:gd name="T20" fmla="*/ 140 w 166"/>
                <a:gd name="T21" fmla="*/ 66 h 66"/>
                <a:gd name="T22" fmla="*/ 140 w 166"/>
                <a:gd name="T23" fmla="*/ 57 h 66"/>
                <a:gd name="T24" fmla="*/ 128 w 166"/>
                <a:gd name="T25" fmla="*/ 45 h 66"/>
                <a:gd name="T26" fmla="*/ 140 w 166"/>
                <a:gd name="T27" fmla="*/ 33 h 66"/>
                <a:gd name="T28" fmla="*/ 140 w 166"/>
                <a:gd name="T29" fmla="*/ 0 h 66"/>
                <a:gd name="T30" fmla="*/ 0 w 166"/>
                <a:gd name="T31" fmla="*/ 0 h 66"/>
                <a:gd name="T32" fmla="*/ 0 w 166"/>
                <a:gd name="T33" fmla="*/ 66 h 66"/>
                <a:gd name="T34" fmla="*/ 0 w 166"/>
                <a:gd name="T35" fmla="*/ 66 h 66"/>
                <a:gd name="T36" fmla="*/ 140 w 166"/>
                <a:gd name="T37" fmla="*/ 33 h 66"/>
                <a:gd name="T38" fmla="*/ 140 w 166"/>
                <a:gd name="T3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66">
                  <a:moveTo>
                    <a:pt x="140" y="66"/>
                  </a:moveTo>
                  <a:lnTo>
                    <a:pt x="166" y="66"/>
                  </a:lnTo>
                  <a:lnTo>
                    <a:pt x="166" y="0"/>
                  </a:lnTo>
                  <a:lnTo>
                    <a:pt x="140" y="0"/>
                  </a:lnTo>
                  <a:lnTo>
                    <a:pt x="140" y="33"/>
                  </a:lnTo>
                  <a:lnTo>
                    <a:pt x="140" y="33"/>
                  </a:lnTo>
                  <a:lnTo>
                    <a:pt x="152" y="45"/>
                  </a:lnTo>
                  <a:lnTo>
                    <a:pt x="140" y="57"/>
                  </a:lnTo>
                  <a:lnTo>
                    <a:pt x="140" y="66"/>
                  </a:lnTo>
                  <a:moveTo>
                    <a:pt x="0" y="66"/>
                  </a:moveTo>
                  <a:lnTo>
                    <a:pt x="140" y="66"/>
                  </a:lnTo>
                  <a:lnTo>
                    <a:pt x="140" y="57"/>
                  </a:lnTo>
                  <a:lnTo>
                    <a:pt x="128" y="45"/>
                  </a:lnTo>
                  <a:lnTo>
                    <a:pt x="140" y="33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0" y="66"/>
                  </a:lnTo>
                  <a:moveTo>
                    <a:pt x="140" y="33"/>
                  </a:moveTo>
                  <a:lnTo>
                    <a:pt x="140" y="33"/>
                  </a:lnTo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5" name="任意多边形: 形状 1684"/>
            <p:cNvSpPr/>
            <p:nvPr>
              <p:custDataLst>
                <p:tags r:id="rId277"/>
              </p:custDataLst>
            </p:nvPr>
          </p:nvSpPr>
          <p:spPr bwMode="auto">
            <a:xfrm flipH="1">
              <a:off x="3235737" y="1190243"/>
              <a:ext cx="355594" cy="250161"/>
            </a:xfrm>
            <a:custGeom>
              <a:avLst/>
              <a:gdLst>
                <a:gd name="T0" fmla="*/ 82 w 165"/>
                <a:gd name="T1" fmla="*/ 0 h 123"/>
                <a:gd name="T2" fmla="*/ 0 w 165"/>
                <a:gd name="T3" fmla="*/ 83 h 123"/>
                <a:gd name="T4" fmla="*/ 10 w 165"/>
                <a:gd name="T5" fmla="*/ 122 h 123"/>
                <a:gd name="T6" fmla="*/ 10 w 165"/>
                <a:gd name="T7" fmla="*/ 100 h 123"/>
                <a:gd name="T8" fmla="*/ 14 w 165"/>
                <a:gd name="T9" fmla="*/ 89 h 123"/>
                <a:gd name="T10" fmla="*/ 13 w 165"/>
                <a:gd name="T11" fmla="*/ 83 h 123"/>
                <a:gd name="T12" fmla="*/ 82 w 165"/>
                <a:gd name="T13" fmla="*/ 13 h 123"/>
                <a:gd name="T14" fmla="*/ 151 w 165"/>
                <a:gd name="T15" fmla="*/ 83 h 123"/>
                <a:gd name="T16" fmla="*/ 151 w 165"/>
                <a:gd name="T17" fmla="*/ 90 h 123"/>
                <a:gd name="T18" fmla="*/ 155 w 165"/>
                <a:gd name="T19" fmla="*/ 100 h 123"/>
                <a:gd name="T20" fmla="*/ 155 w 165"/>
                <a:gd name="T21" fmla="*/ 123 h 123"/>
                <a:gd name="T22" fmla="*/ 165 w 165"/>
                <a:gd name="T23" fmla="*/ 83 h 123"/>
                <a:gd name="T24" fmla="*/ 82 w 165"/>
                <a:gd name="T2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5" h="123">
                  <a:moveTo>
                    <a:pt x="82" y="0"/>
                  </a:moveTo>
                  <a:cubicBezTo>
                    <a:pt x="37" y="0"/>
                    <a:pt x="0" y="37"/>
                    <a:pt x="0" y="83"/>
                  </a:cubicBezTo>
                  <a:cubicBezTo>
                    <a:pt x="0" y="96"/>
                    <a:pt x="3" y="110"/>
                    <a:pt x="10" y="122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96"/>
                    <a:pt x="11" y="92"/>
                    <a:pt x="14" y="89"/>
                  </a:cubicBezTo>
                  <a:cubicBezTo>
                    <a:pt x="14" y="87"/>
                    <a:pt x="13" y="85"/>
                    <a:pt x="13" y="83"/>
                  </a:cubicBezTo>
                  <a:cubicBezTo>
                    <a:pt x="13" y="45"/>
                    <a:pt x="44" y="13"/>
                    <a:pt x="82" y="13"/>
                  </a:cubicBezTo>
                  <a:cubicBezTo>
                    <a:pt x="120" y="13"/>
                    <a:pt x="151" y="45"/>
                    <a:pt x="151" y="83"/>
                  </a:cubicBezTo>
                  <a:cubicBezTo>
                    <a:pt x="151" y="85"/>
                    <a:pt x="151" y="88"/>
                    <a:pt x="151" y="90"/>
                  </a:cubicBezTo>
                  <a:cubicBezTo>
                    <a:pt x="153" y="93"/>
                    <a:pt x="155" y="97"/>
                    <a:pt x="155" y="100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61" y="111"/>
                    <a:pt x="165" y="97"/>
                    <a:pt x="165" y="83"/>
                  </a:cubicBezTo>
                  <a:cubicBezTo>
                    <a:pt x="165" y="37"/>
                    <a:pt x="128" y="0"/>
                    <a:pt x="82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6" name="任意多边形: 形状 1685"/>
            <p:cNvSpPr/>
            <p:nvPr>
              <p:custDataLst>
                <p:tags r:id="rId278"/>
              </p:custDataLst>
            </p:nvPr>
          </p:nvSpPr>
          <p:spPr bwMode="auto">
            <a:xfrm flipH="1">
              <a:off x="3481918" y="1359596"/>
              <a:ext cx="79324" cy="134107"/>
            </a:xfrm>
            <a:custGeom>
              <a:avLst/>
              <a:gdLst>
                <a:gd name="T0" fmla="*/ 1 w 37"/>
                <a:gd name="T1" fmla="*/ 14 h 66"/>
                <a:gd name="T2" fmla="*/ 0 w 37"/>
                <a:gd name="T3" fmla="*/ 17 h 66"/>
                <a:gd name="T4" fmla="*/ 0 w 37"/>
                <a:gd name="T5" fmla="*/ 38 h 66"/>
                <a:gd name="T6" fmla="*/ 0 w 37"/>
                <a:gd name="T7" fmla="*/ 48 h 66"/>
                <a:gd name="T8" fmla="*/ 26 w 37"/>
                <a:gd name="T9" fmla="*/ 66 h 66"/>
                <a:gd name="T10" fmla="*/ 37 w 37"/>
                <a:gd name="T11" fmla="*/ 66 h 66"/>
                <a:gd name="T12" fmla="*/ 37 w 37"/>
                <a:gd name="T13" fmla="*/ 0 h 66"/>
                <a:gd name="T14" fmla="*/ 26 w 37"/>
                <a:gd name="T15" fmla="*/ 0 h 66"/>
                <a:gd name="T16" fmla="*/ 1 w 37"/>
                <a:gd name="T1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66">
                  <a:moveTo>
                    <a:pt x="1" y="14"/>
                  </a:moveTo>
                  <a:cubicBezTo>
                    <a:pt x="1" y="15"/>
                    <a:pt x="0" y="16"/>
                    <a:pt x="0" y="1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8"/>
                    <a:pt x="12" y="66"/>
                    <a:pt x="26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4" y="0"/>
                    <a:pt x="3" y="6"/>
                    <a:pt x="1" y="14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7" name="任意多边形: 形状 1686"/>
            <p:cNvSpPr/>
            <p:nvPr>
              <p:custDataLst>
                <p:tags r:id="rId279"/>
              </p:custDataLst>
            </p:nvPr>
          </p:nvSpPr>
          <p:spPr bwMode="auto">
            <a:xfrm flipH="1">
              <a:off x="3268562" y="1359596"/>
              <a:ext cx="77501" cy="134107"/>
            </a:xfrm>
            <a:custGeom>
              <a:avLst/>
              <a:gdLst>
                <a:gd name="T0" fmla="*/ 36 w 36"/>
                <a:gd name="T1" fmla="*/ 48 h 66"/>
                <a:gd name="T2" fmla="*/ 36 w 36"/>
                <a:gd name="T3" fmla="*/ 38 h 66"/>
                <a:gd name="T4" fmla="*/ 36 w 36"/>
                <a:gd name="T5" fmla="*/ 17 h 66"/>
                <a:gd name="T6" fmla="*/ 36 w 36"/>
                <a:gd name="T7" fmla="*/ 15 h 66"/>
                <a:gd name="T8" fmla="*/ 10 w 36"/>
                <a:gd name="T9" fmla="*/ 0 h 66"/>
                <a:gd name="T10" fmla="*/ 0 w 36"/>
                <a:gd name="T11" fmla="*/ 0 h 66"/>
                <a:gd name="T12" fmla="*/ 0 w 36"/>
                <a:gd name="T13" fmla="*/ 66 h 66"/>
                <a:gd name="T14" fmla="*/ 10 w 36"/>
                <a:gd name="T15" fmla="*/ 66 h 66"/>
                <a:gd name="T16" fmla="*/ 36 w 36"/>
                <a:gd name="T17" fmla="*/ 4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6">
                  <a:moveTo>
                    <a:pt x="36" y="4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5"/>
                  </a:cubicBezTo>
                  <a:cubicBezTo>
                    <a:pt x="34" y="7"/>
                    <a:pt x="23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25" y="66"/>
                    <a:pt x="36" y="58"/>
                    <a:pt x="36" y="48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8" name="任意多边形: 形状 1687"/>
            <p:cNvSpPr/>
            <p:nvPr>
              <p:custDataLst>
                <p:tags r:id="rId280"/>
              </p:custDataLst>
            </p:nvPr>
          </p:nvSpPr>
          <p:spPr bwMode="auto">
            <a:xfrm flipH="1">
              <a:off x="3997073" y="2019812"/>
              <a:ext cx="295416" cy="276811"/>
            </a:xfrm>
            <a:custGeom>
              <a:avLst/>
              <a:gdLst>
                <a:gd name="T0" fmla="*/ 137 w 137"/>
                <a:gd name="T1" fmla="*/ 68 h 136"/>
                <a:gd name="T2" fmla="*/ 122 w 137"/>
                <a:gd name="T3" fmla="*/ 64 h 136"/>
                <a:gd name="T4" fmla="*/ 131 w 137"/>
                <a:gd name="T5" fmla="*/ 64 h 136"/>
                <a:gd name="T6" fmla="*/ 122 w 137"/>
                <a:gd name="T7" fmla="*/ 72 h 136"/>
                <a:gd name="T8" fmla="*/ 106 w 137"/>
                <a:gd name="T9" fmla="*/ 125 h 136"/>
                <a:gd name="T10" fmla="*/ 122 w 137"/>
                <a:gd name="T11" fmla="*/ 72 h 136"/>
                <a:gd name="T12" fmla="*/ 113 w 137"/>
                <a:gd name="T13" fmla="*/ 64 h 136"/>
                <a:gd name="T14" fmla="*/ 122 w 137"/>
                <a:gd name="T15" fmla="*/ 25 h 136"/>
                <a:gd name="T16" fmla="*/ 106 w 137"/>
                <a:gd name="T17" fmla="*/ 25 h 136"/>
                <a:gd name="T18" fmla="*/ 110 w 137"/>
                <a:gd name="T19" fmla="*/ 21 h 136"/>
                <a:gd name="T20" fmla="*/ 106 w 137"/>
                <a:gd name="T21" fmla="*/ 36 h 136"/>
                <a:gd name="T22" fmla="*/ 115 w 137"/>
                <a:gd name="T23" fmla="*/ 109 h 136"/>
                <a:gd name="T24" fmla="*/ 106 w 137"/>
                <a:gd name="T25" fmla="*/ 111 h 136"/>
                <a:gd name="T26" fmla="*/ 68 w 137"/>
                <a:gd name="T27" fmla="*/ 136 h 136"/>
                <a:gd name="T28" fmla="*/ 106 w 137"/>
                <a:gd name="T29" fmla="*/ 111 h 136"/>
                <a:gd name="T30" fmla="*/ 102 w 137"/>
                <a:gd name="T31" fmla="*/ 97 h 136"/>
                <a:gd name="T32" fmla="*/ 106 w 137"/>
                <a:gd name="T33" fmla="*/ 100 h 136"/>
                <a:gd name="T34" fmla="*/ 102 w 137"/>
                <a:gd name="T35" fmla="*/ 39 h 136"/>
                <a:gd name="T36" fmla="*/ 106 w 137"/>
                <a:gd name="T37" fmla="*/ 25 h 136"/>
                <a:gd name="T38" fmla="*/ 68 w 137"/>
                <a:gd name="T39" fmla="*/ 0 h 136"/>
                <a:gd name="T40" fmla="*/ 68 w 137"/>
                <a:gd name="T41" fmla="*/ 5 h 136"/>
                <a:gd name="T42" fmla="*/ 72 w 137"/>
                <a:gd name="T43" fmla="*/ 24 h 136"/>
                <a:gd name="T44" fmla="*/ 68 w 137"/>
                <a:gd name="T45" fmla="*/ 63 h 136"/>
                <a:gd name="T46" fmla="*/ 90 w 137"/>
                <a:gd name="T47" fmla="*/ 42 h 136"/>
                <a:gd name="T48" fmla="*/ 69 w 137"/>
                <a:gd name="T49" fmla="*/ 74 h 136"/>
                <a:gd name="T50" fmla="*/ 68 w 137"/>
                <a:gd name="T51" fmla="*/ 112 h 136"/>
                <a:gd name="T52" fmla="*/ 72 w 137"/>
                <a:gd name="T53" fmla="*/ 131 h 136"/>
                <a:gd name="T54" fmla="*/ 68 w 137"/>
                <a:gd name="T55" fmla="*/ 131 h 136"/>
                <a:gd name="T56" fmla="*/ 68 w 137"/>
                <a:gd name="T57" fmla="*/ 0 h 136"/>
                <a:gd name="T58" fmla="*/ 30 w 137"/>
                <a:gd name="T59" fmla="*/ 25 h 136"/>
                <a:gd name="T60" fmla="*/ 34 w 137"/>
                <a:gd name="T61" fmla="*/ 39 h 136"/>
                <a:gd name="T62" fmla="*/ 30 w 137"/>
                <a:gd name="T63" fmla="*/ 100 h 136"/>
                <a:gd name="T64" fmla="*/ 40 w 137"/>
                <a:gd name="T65" fmla="*/ 102 h 136"/>
                <a:gd name="T66" fmla="*/ 30 w 137"/>
                <a:gd name="T67" fmla="*/ 125 h 136"/>
                <a:gd name="T68" fmla="*/ 68 w 137"/>
                <a:gd name="T69" fmla="*/ 131 h 136"/>
                <a:gd name="T70" fmla="*/ 64 w 137"/>
                <a:gd name="T71" fmla="*/ 112 h 136"/>
                <a:gd name="T72" fmla="*/ 68 w 137"/>
                <a:gd name="T73" fmla="*/ 74 h 136"/>
                <a:gd name="T74" fmla="*/ 57 w 137"/>
                <a:gd name="T75" fmla="*/ 52 h 136"/>
                <a:gd name="T76" fmla="*/ 68 w 137"/>
                <a:gd name="T77" fmla="*/ 63 h 136"/>
                <a:gd name="T78" fmla="*/ 64 w 137"/>
                <a:gd name="T79" fmla="*/ 24 h 136"/>
                <a:gd name="T80" fmla="*/ 64 w 137"/>
                <a:gd name="T81" fmla="*/ 5 h 136"/>
                <a:gd name="T82" fmla="*/ 68 w 137"/>
                <a:gd name="T83" fmla="*/ 0 h 136"/>
                <a:gd name="T84" fmla="*/ 15 w 137"/>
                <a:gd name="T85" fmla="*/ 25 h 136"/>
                <a:gd name="T86" fmla="*/ 24 w 137"/>
                <a:gd name="T87" fmla="*/ 64 h 136"/>
                <a:gd name="T88" fmla="*/ 24 w 137"/>
                <a:gd name="T89" fmla="*/ 72 h 136"/>
                <a:gd name="T90" fmla="*/ 15 w 137"/>
                <a:gd name="T91" fmla="*/ 111 h 136"/>
                <a:gd name="T92" fmla="*/ 30 w 137"/>
                <a:gd name="T93" fmla="*/ 111 h 136"/>
                <a:gd name="T94" fmla="*/ 27 w 137"/>
                <a:gd name="T95" fmla="*/ 115 h 136"/>
                <a:gd name="T96" fmla="*/ 30 w 137"/>
                <a:gd name="T97" fmla="*/ 100 h 136"/>
                <a:gd name="T98" fmla="*/ 21 w 137"/>
                <a:gd name="T99" fmla="*/ 27 h 136"/>
                <a:gd name="T100" fmla="*/ 27 w 137"/>
                <a:gd name="T101" fmla="*/ 21 h 136"/>
                <a:gd name="T102" fmla="*/ 30 w 137"/>
                <a:gd name="T103" fmla="*/ 11 h 136"/>
                <a:gd name="T104" fmla="*/ 0 w 137"/>
                <a:gd name="T105" fmla="*/ 68 h 136"/>
                <a:gd name="T106" fmla="*/ 15 w 137"/>
                <a:gd name="T107" fmla="*/ 72 h 136"/>
                <a:gd name="T108" fmla="*/ 6 w 137"/>
                <a:gd name="T109" fmla="*/ 64 h 136"/>
                <a:gd name="T110" fmla="*/ 15 w 137"/>
                <a:gd name="T111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7" h="136">
                  <a:moveTo>
                    <a:pt x="122" y="111"/>
                  </a:moveTo>
                  <a:cubicBezTo>
                    <a:pt x="131" y="99"/>
                    <a:pt x="137" y="84"/>
                    <a:pt x="137" y="68"/>
                  </a:cubicBezTo>
                  <a:cubicBezTo>
                    <a:pt x="137" y="52"/>
                    <a:pt x="131" y="37"/>
                    <a:pt x="122" y="25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22" y="72"/>
                    <a:pt x="122" y="72"/>
                    <a:pt x="122" y="72"/>
                  </a:cubicBezTo>
                  <a:lnTo>
                    <a:pt x="122" y="111"/>
                  </a:lnTo>
                  <a:close/>
                  <a:moveTo>
                    <a:pt x="106" y="125"/>
                  </a:moveTo>
                  <a:cubicBezTo>
                    <a:pt x="112" y="121"/>
                    <a:pt x="117" y="116"/>
                    <a:pt x="122" y="111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2" y="25"/>
                    <a:pt x="122" y="25"/>
                    <a:pt x="122" y="25"/>
                  </a:cubicBezTo>
                  <a:cubicBezTo>
                    <a:pt x="117" y="20"/>
                    <a:pt x="112" y="15"/>
                    <a:pt x="106" y="11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15" y="109"/>
                    <a:pt x="115" y="109"/>
                    <a:pt x="115" y="109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06" y="111"/>
                    <a:pt x="106" y="111"/>
                    <a:pt x="106" y="111"/>
                  </a:cubicBezTo>
                  <a:lnTo>
                    <a:pt x="106" y="125"/>
                  </a:lnTo>
                  <a:close/>
                  <a:moveTo>
                    <a:pt x="68" y="136"/>
                  </a:moveTo>
                  <a:cubicBezTo>
                    <a:pt x="82" y="136"/>
                    <a:pt x="95" y="132"/>
                    <a:pt x="106" y="125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95" y="4"/>
                    <a:pt x="82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90" y="42"/>
                    <a:pt x="90" y="42"/>
                    <a:pt x="90" y="42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6"/>
                    <a:pt x="68" y="136"/>
                    <a:pt x="68" y="136"/>
                  </a:cubicBezTo>
                  <a:close/>
                  <a:moveTo>
                    <a:pt x="68" y="0"/>
                  </a:moveTo>
                  <a:cubicBezTo>
                    <a:pt x="54" y="0"/>
                    <a:pt x="41" y="4"/>
                    <a:pt x="30" y="1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41" y="132"/>
                    <a:pt x="54" y="136"/>
                    <a:pt x="68" y="136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5"/>
                    <a:pt x="68" y="5"/>
                    <a:pt x="68" y="5"/>
                  </a:cubicBezTo>
                  <a:lnTo>
                    <a:pt x="68" y="0"/>
                  </a:lnTo>
                  <a:close/>
                  <a:moveTo>
                    <a:pt x="30" y="11"/>
                  </a:moveTo>
                  <a:cubicBezTo>
                    <a:pt x="25" y="15"/>
                    <a:pt x="19" y="20"/>
                    <a:pt x="15" y="25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9" y="116"/>
                    <a:pt x="25" y="121"/>
                    <a:pt x="30" y="125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0" y="25"/>
                    <a:pt x="30" y="25"/>
                    <a:pt x="30" y="25"/>
                  </a:cubicBezTo>
                  <a:lnTo>
                    <a:pt x="30" y="11"/>
                  </a:lnTo>
                  <a:close/>
                  <a:moveTo>
                    <a:pt x="15" y="25"/>
                  </a:moveTo>
                  <a:cubicBezTo>
                    <a:pt x="6" y="37"/>
                    <a:pt x="0" y="52"/>
                    <a:pt x="0" y="68"/>
                  </a:cubicBezTo>
                  <a:cubicBezTo>
                    <a:pt x="0" y="84"/>
                    <a:pt x="6" y="99"/>
                    <a:pt x="15" y="111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15" y="64"/>
                    <a:pt x="15" y="64"/>
                    <a:pt x="15" y="64"/>
                  </a:cubicBezTo>
                  <a:lnTo>
                    <a:pt x="15" y="2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89" name="任意多边形: 形状 1688"/>
            <p:cNvSpPr/>
            <p:nvPr>
              <p:custDataLst>
                <p:tags r:id="rId281"/>
              </p:custDataLst>
            </p:nvPr>
          </p:nvSpPr>
          <p:spPr bwMode="auto">
            <a:xfrm flipH="1">
              <a:off x="2581993" y="4134572"/>
              <a:ext cx="153179" cy="416934"/>
            </a:xfrm>
            <a:custGeom>
              <a:avLst/>
              <a:gdLst>
                <a:gd name="T0" fmla="*/ 8 w 71"/>
                <a:gd name="T1" fmla="*/ 24 h 205"/>
                <a:gd name="T2" fmla="*/ 1 w 71"/>
                <a:gd name="T3" fmla="*/ 49 h 205"/>
                <a:gd name="T4" fmla="*/ 6 w 71"/>
                <a:gd name="T5" fmla="*/ 71 h 205"/>
                <a:gd name="T6" fmla="*/ 26 w 71"/>
                <a:gd name="T7" fmla="*/ 93 h 205"/>
                <a:gd name="T8" fmla="*/ 26 w 71"/>
                <a:gd name="T9" fmla="*/ 205 h 205"/>
                <a:gd name="T10" fmla="*/ 45 w 71"/>
                <a:gd name="T11" fmla="*/ 205 h 205"/>
                <a:gd name="T12" fmla="*/ 45 w 71"/>
                <a:gd name="T13" fmla="*/ 93 h 205"/>
                <a:gd name="T14" fmla="*/ 65 w 71"/>
                <a:gd name="T15" fmla="*/ 71 h 205"/>
                <a:gd name="T16" fmla="*/ 70 w 71"/>
                <a:gd name="T17" fmla="*/ 49 h 205"/>
                <a:gd name="T18" fmla="*/ 63 w 71"/>
                <a:gd name="T19" fmla="*/ 24 h 205"/>
                <a:gd name="T20" fmla="*/ 47 w 71"/>
                <a:gd name="T21" fmla="*/ 0 h 205"/>
                <a:gd name="T22" fmla="*/ 52 w 71"/>
                <a:gd name="T23" fmla="*/ 48 h 205"/>
                <a:gd name="T24" fmla="*/ 46 w 71"/>
                <a:gd name="T25" fmla="*/ 48 h 205"/>
                <a:gd name="T26" fmla="*/ 41 w 71"/>
                <a:gd name="T27" fmla="*/ 0 h 205"/>
                <a:gd name="T28" fmla="*/ 35 w 71"/>
                <a:gd name="T29" fmla="*/ 0 h 205"/>
                <a:gd name="T30" fmla="*/ 30 w 71"/>
                <a:gd name="T31" fmla="*/ 0 h 205"/>
                <a:gd name="T32" fmla="*/ 25 w 71"/>
                <a:gd name="T33" fmla="*/ 48 h 205"/>
                <a:gd name="T34" fmla="*/ 19 w 71"/>
                <a:gd name="T35" fmla="*/ 48 h 205"/>
                <a:gd name="T36" fmla="*/ 24 w 71"/>
                <a:gd name="T37" fmla="*/ 0 h 205"/>
                <a:gd name="T38" fmla="*/ 8 w 71"/>
                <a:gd name="T39" fmla="*/ 2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205">
                  <a:moveTo>
                    <a:pt x="8" y="24"/>
                  </a:moveTo>
                  <a:cubicBezTo>
                    <a:pt x="5" y="32"/>
                    <a:pt x="2" y="40"/>
                    <a:pt x="1" y="49"/>
                  </a:cubicBezTo>
                  <a:cubicBezTo>
                    <a:pt x="0" y="57"/>
                    <a:pt x="2" y="63"/>
                    <a:pt x="6" y="71"/>
                  </a:cubicBezTo>
                  <a:cubicBezTo>
                    <a:pt x="10" y="78"/>
                    <a:pt x="17" y="88"/>
                    <a:pt x="26" y="93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45" y="205"/>
                    <a:pt x="45" y="205"/>
                    <a:pt x="45" y="205"/>
                  </a:cubicBezTo>
                  <a:cubicBezTo>
                    <a:pt x="45" y="93"/>
                    <a:pt x="45" y="93"/>
                    <a:pt x="45" y="93"/>
                  </a:cubicBezTo>
                  <a:cubicBezTo>
                    <a:pt x="54" y="88"/>
                    <a:pt x="61" y="78"/>
                    <a:pt x="65" y="71"/>
                  </a:cubicBezTo>
                  <a:cubicBezTo>
                    <a:pt x="69" y="63"/>
                    <a:pt x="71" y="57"/>
                    <a:pt x="70" y="49"/>
                  </a:cubicBezTo>
                  <a:cubicBezTo>
                    <a:pt x="69" y="40"/>
                    <a:pt x="66" y="32"/>
                    <a:pt x="63" y="24"/>
                  </a:cubicBezTo>
                  <a:cubicBezTo>
                    <a:pt x="60" y="17"/>
                    <a:pt x="56" y="1"/>
                    <a:pt x="47" y="0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5" y="1"/>
                    <a:pt x="11" y="17"/>
                    <a:pt x="8" y="2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0" name="任意多边形: 形状 1689"/>
            <p:cNvSpPr/>
            <p:nvPr>
              <p:custDataLst>
                <p:tags r:id="rId282"/>
              </p:custDataLst>
            </p:nvPr>
          </p:nvSpPr>
          <p:spPr bwMode="auto">
            <a:xfrm flipH="1">
              <a:off x="2414225" y="4134572"/>
              <a:ext cx="99383" cy="416934"/>
            </a:xfrm>
            <a:custGeom>
              <a:avLst/>
              <a:gdLst>
                <a:gd name="T0" fmla="*/ 0 w 46"/>
                <a:gd name="T1" fmla="*/ 57 h 205"/>
                <a:gd name="T2" fmla="*/ 26 w 46"/>
                <a:gd name="T3" fmla="*/ 114 h 205"/>
                <a:gd name="T4" fmla="*/ 26 w 46"/>
                <a:gd name="T5" fmla="*/ 205 h 205"/>
                <a:gd name="T6" fmla="*/ 46 w 46"/>
                <a:gd name="T7" fmla="*/ 205 h 205"/>
                <a:gd name="T8" fmla="*/ 46 w 46"/>
                <a:gd name="T9" fmla="*/ 0 h 205"/>
                <a:gd name="T10" fmla="*/ 26 w 46"/>
                <a:gd name="T11" fmla="*/ 0 h 205"/>
                <a:gd name="T12" fmla="*/ 0 w 46"/>
                <a:gd name="T13" fmla="*/ 5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5">
                  <a:moveTo>
                    <a:pt x="0" y="57"/>
                  </a:moveTo>
                  <a:cubicBezTo>
                    <a:pt x="0" y="108"/>
                    <a:pt x="21" y="114"/>
                    <a:pt x="26" y="114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46" y="205"/>
                    <a:pt x="46" y="205"/>
                    <a:pt x="46" y="205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0" y="0"/>
                    <a:pt x="0" y="5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1" name="椭圆 1690"/>
            <p:cNvSpPr/>
            <p:nvPr>
              <p:custDataLst>
                <p:tags r:id="rId283"/>
              </p:custDataLst>
            </p:nvPr>
          </p:nvSpPr>
          <p:spPr bwMode="auto">
            <a:xfrm flipH="1">
              <a:off x="3087118" y="5419761"/>
              <a:ext cx="31912" cy="326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2" name="椭圆 1691"/>
            <p:cNvSpPr/>
            <p:nvPr>
              <p:custDataLst>
                <p:tags r:id="rId284"/>
              </p:custDataLst>
            </p:nvPr>
          </p:nvSpPr>
          <p:spPr bwMode="auto">
            <a:xfrm flipH="1">
              <a:off x="3060676" y="5388813"/>
              <a:ext cx="26441" cy="2235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3" name="椭圆 1692"/>
            <p:cNvSpPr/>
            <p:nvPr>
              <p:custDataLst>
                <p:tags r:id="rId285"/>
              </p:custDataLst>
            </p:nvPr>
          </p:nvSpPr>
          <p:spPr bwMode="auto">
            <a:xfrm flipH="1">
              <a:off x="3093500" y="5346690"/>
              <a:ext cx="19147" cy="1633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4" name="椭圆 1693"/>
            <p:cNvSpPr/>
            <p:nvPr>
              <p:custDataLst>
                <p:tags r:id="rId286"/>
              </p:custDataLst>
            </p:nvPr>
          </p:nvSpPr>
          <p:spPr bwMode="auto">
            <a:xfrm flipH="1">
              <a:off x="3087118" y="5277057"/>
              <a:ext cx="31912" cy="3266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5" name="任意多边形: 形状 1694"/>
            <p:cNvSpPr/>
            <p:nvPr>
              <p:custDataLst>
                <p:tags r:id="rId287"/>
              </p:custDataLst>
            </p:nvPr>
          </p:nvSpPr>
          <p:spPr bwMode="auto">
            <a:xfrm flipH="1">
              <a:off x="3000498" y="5139512"/>
              <a:ext cx="164120" cy="347302"/>
            </a:xfrm>
            <a:custGeom>
              <a:avLst/>
              <a:gdLst>
                <a:gd name="T0" fmla="*/ 41 w 76"/>
                <a:gd name="T1" fmla="*/ 9 h 171"/>
                <a:gd name="T2" fmla="*/ 40 w 76"/>
                <a:gd name="T3" fmla="*/ 15 h 171"/>
                <a:gd name="T4" fmla="*/ 40 w 76"/>
                <a:gd name="T5" fmla="*/ 26 h 171"/>
                <a:gd name="T6" fmla="*/ 36 w 76"/>
                <a:gd name="T7" fmla="*/ 26 h 171"/>
                <a:gd name="T8" fmla="*/ 36 w 76"/>
                <a:gd name="T9" fmla="*/ 56 h 171"/>
                <a:gd name="T10" fmla="*/ 40 w 76"/>
                <a:gd name="T11" fmla="*/ 56 h 171"/>
                <a:gd name="T12" fmla="*/ 40 w 76"/>
                <a:gd name="T13" fmla="*/ 79 h 171"/>
                <a:gd name="T14" fmla="*/ 40 w 76"/>
                <a:gd name="T15" fmla="*/ 89 h 171"/>
                <a:gd name="T16" fmla="*/ 46 w 76"/>
                <a:gd name="T17" fmla="*/ 96 h 171"/>
                <a:gd name="T18" fmla="*/ 48 w 76"/>
                <a:gd name="T19" fmla="*/ 96 h 171"/>
                <a:gd name="T20" fmla="*/ 53 w 76"/>
                <a:gd name="T21" fmla="*/ 89 h 171"/>
                <a:gd name="T22" fmla="*/ 53 w 76"/>
                <a:gd name="T23" fmla="*/ 56 h 171"/>
                <a:gd name="T24" fmla="*/ 58 w 76"/>
                <a:gd name="T25" fmla="*/ 56 h 171"/>
                <a:gd name="T26" fmla="*/ 58 w 76"/>
                <a:gd name="T27" fmla="*/ 56 h 171"/>
                <a:gd name="T28" fmla="*/ 58 w 76"/>
                <a:gd name="T29" fmla="*/ 156 h 171"/>
                <a:gd name="T30" fmla="*/ 36 w 76"/>
                <a:gd name="T31" fmla="*/ 156 h 171"/>
                <a:gd name="T32" fmla="*/ 36 w 76"/>
                <a:gd name="T33" fmla="*/ 171 h 171"/>
                <a:gd name="T34" fmla="*/ 72 w 76"/>
                <a:gd name="T35" fmla="*/ 171 h 171"/>
                <a:gd name="T36" fmla="*/ 72 w 76"/>
                <a:gd name="T37" fmla="*/ 26 h 171"/>
                <a:gd name="T38" fmla="*/ 53 w 76"/>
                <a:gd name="T39" fmla="*/ 26 h 171"/>
                <a:gd name="T40" fmla="*/ 53 w 76"/>
                <a:gd name="T41" fmla="*/ 18 h 171"/>
                <a:gd name="T42" fmla="*/ 70 w 76"/>
                <a:gd name="T43" fmla="*/ 14 h 171"/>
                <a:gd name="T44" fmla="*/ 75 w 76"/>
                <a:gd name="T45" fmla="*/ 6 h 171"/>
                <a:gd name="T46" fmla="*/ 67 w 76"/>
                <a:gd name="T47" fmla="*/ 1 h 171"/>
                <a:gd name="T48" fmla="*/ 46 w 76"/>
                <a:gd name="T49" fmla="*/ 6 h 171"/>
                <a:gd name="T50" fmla="*/ 41 w 76"/>
                <a:gd name="T51" fmla="*/ 9 h 171"/>
                <a:gd name="T52" fmla="*/ 36 w 76"/>
                <a:gd name="T53" fmla="*/ 26 h 171"/>
                <a:gd name="T54" fmla="*/ 0 w 76"/>
                <a:gd name="T55" fmla="*/ 26 h 171"/>
                <a:gd name="T56" fmla="*/ 0 w 76"/>
                <a:gd name="T57" fmla="*/ 171 h 171"/>
                <a:gd name="T58" fmla="*/ 36 w 76"/>
                <a:gd name="T59" fmla="*/ 171 h 171"/>
                <a:gd name="T60" fmla="*/ 36 w 76"/>
                <a:gd name="T61" fmla="*/ 156 h 171"/>
                <a:gd name="T62" fmla="*/ 15 w 76"/>
                <a:gd name="T63" fmla="*/ 156 h 171"/>
                <a:gd name="T64" fmla="*/ 15 w 76"/>
                <a:gd name="T65" fmla="*/ 56 h 171"/>
                <a:gd name="T66" fmla="*/ 36 w 76"/>
                <a:gd name="T67" fmla="*/ 56 h 171"/>
                <a:gd name="T68" fmla="*/ 36 w 76"/>
                <a:gd name="T69" fmla="*/ 2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171">
                  <a:moveTo>
                    <a:pt x="41" y="9"/>
                  </a:move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0" y="19"/>
                    <a:pt x="40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68"/>
                    <a:pt x="40" y="78"/>
                    <a:pt x="40" y="79"/>
                  </a:cubicBezTo>
                  <a:cubicBezTo>
                    <a:pt x="40" y="81"/>
                    <a:pt x="40" y="89"/>
                    <a:pt x="40" y="89"/>
                  </a:cubicBezTo>
                  <a:cubicBezTo>
                    <a:pt x="40" y="93"/>
                    <a:pt x="42" y="96"/>
                    <a:pt x="46" y="96"/>
                  </a:cubicBezTo>
                  <a:cubicBezTo>
                    <a:pt x="47" y="96"/>
                    <a:pt x="47" y="96"/>
                    <a:pt x="48" y="96"/>
                  </a:cubicBezTo>
                  <a:cubicBezTo>
                    <a:pt x="51" y="95"/>
                    <a:pt x="53" y="92"/>
                    <a:pt x="53" y="89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6" y="171"/>
                    <a:pt x="36" y="171"/>
                    <a:pt x="36" y="171"/>
                  </a:cubicBezTo>
                  <a:cubicBezTo>
                    <a:pt x="72" y="171"/>
                    <a:pt x="72" y="171"/>
                    <a:pt x="72" y="171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4" y="13"/>
                    <a:pt x="76" y="10"/>
                    <a:pt x="75" y="6"/>
                  </a:cubicBezTo>
                  <a:cubicBezTo>
                    <a:pt x="75" y="3"/>
                    <a:pt x="71" y="0"/>
                    <a:pt x="67" y="1"/>
                  </a:cubicBezTo>
                  <a:cubicBezTo>
                    <a:pt x="66" y="1"/>
                    <a:pt x="48" y="5"/>
                    <a:pt x="46" y="6"/>
                  </a:cubicBezTo>
                  <a:cubicBezTo>
                    <a:pt x="44" y="6"/>
                    <a:pt x="42" y="7"/>
                    <a:pt x="41" y="9"/>
                  </a:cubicBezTo>
                  <a:close/>
                  <a:moveTo>
                    <a:pt x="36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36" y="171"/>
                    <a:pt x="36" y="171"/>
                    <a:pt x="36" y="171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2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6" name="任意多边形: 形状 1695"/>
            <p:cNvSpPr/>
            <p:nvPr>
              <p:custDataLst>
                <p:tags r:id="rId288"/>
              </p:custDataLst>
            </p:nvPr>
          </p:nvSpPr>
          <p:spPr bwMode="auto">
            <a:xfrm flipH="1">
              <a:off x="1708507" y="3644568"/>
              <a:ext cx="178709" cy="101440"/>
            </a:xfrm>
            <a:custGeom>
              <a:avLst/>
              <a:gdLst>
                <a:gd name="T0" fmla="*/ 196 w 196"/>
                <a:gd name="T1" fmla="*/ 0 h 118"/>
                <a:gd name="T2" fmla="*/ 14 w 196"/>
                <a:gd name="T3" fmla="*/ 0 h 118"/>
                <a:gd name="T4" fmla="*/ 14 w 196"/>
                <a:gd name="T5" fmla="*/ 36 h 118"/>
                <a:gd name="T6" fmla="*/ 0 w 196"/>
                <a:gd name="T7" fmla="*/ 36 h 118"/>
                <a:gd name="T8" fmla="*/ 0 w 196"/>
                <a:gd name="T9" fmla="*/ 85 h 118"/>
                <a:gd name="T10" fmla="*/ 14 w 196"/>
                <a:gd name="T11" fmla="*/ 85 h 118"/>
                <a:gd name="T12" fmla="*/ 14 w 196"/>
                <a:gd name="T13" fmla="*/ 118 h 118"/>
                <a:gd name="T14" fmla="*/ 196 w 196"/>
                <a:gd name="T15" fmla="*/ 118 h 118"/>
                <a:gd name="T16" fmla="*/ 196 w 196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118">
                  <a:moveTo>
                    <a:pt x="196" y="0"/>
                  </a:moveTo>
                  <a:lnTo>
                    <a:pt x="14" y="0"/>
                  </a:lnTo>
                  <a:lnTo>
                    <a:pt x="14" y="36"/>
                  </a:lnTo>
                  <a:lnTo>
                    <a:pt x="0" y="36"/>
                  </a:lnTo>
                  <a:lnTo>
                    <a:pt x="0" y="85"/>
                  </a:lnTo>
                  <a:lnTo>
                    <a:pt x="14" y="85"/>
                  </a:lnTo>
                  <a:lnTo>
                    <a:pt x="14" y="118"/>
                  </a:lnTo>
                  <a:lnTo>
                    <a:pt x="196" y="118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7" name="矩形 1696"/>
            <p:cNvSpPr/>
            <p:nvPr>
              <p:custDataLst>
                <p:tags r:id="rId289"/>
              </p:custDataLst>
            </p:nvPr>
          </p:nvSpPr>
          <p:spPr bwMode="auto">
            <a:xfrm flipH="1">
              <a:off x="2003925" y="3599864"/>
              <a:ext cx="28265" cy="1461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8" name="椭圆 1697"/>
            <p:cNvSpPr/>
            <p:nvPr>
              <p:custDataLst>
                <p:tags r:id="rId290"/>
              </p:custDataLst>
            </p:nvPr>
          </p:nvSpPr>
          <p:spPr bwMode="auto">
            <a:xfrm flipH="1">
              <a:off x="1943748" y="3662619"/>
              <a:ext cx="55618" cy="5501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699" name="任意多边形: 形状 1698"/>
            <p:cNvSpPr/>
            <p:nvPr>
              <p:custDataLst>
                <p:tags r:id="rId291"/>
              </p:custDataLst>
            </p:nvPr>
          </p:nvSpPr>
          <p:spPr bwMode="auto">
            <a:xfrm flipH="1">
              <a:off x="1898158" y="3622215"/>
              <a:ext cx="151355" cy="274231"/>
            </a:xfrm>
            <a:custGeom>
              <a:avLst/>
              <a:gdLst>
                <a:gd name="T0" fmla="*/ 36 w 70"/>
                <a:gd name="T1" fmla="*/ 135 h 135"/>
                <a:gd name="T2" fmla="*/ 70 w 70"/>
                <a:gd name="T3" fmla="*/ 135 h 135"/>
                <a:gd name="T4" fmla="*/ 70 w 70"/>
                <a:gd name="T5" fmla="*/ 47 h 135"/>
                <a:gd name="T6" fmla="*/ 70 w 70"/>
                <a:gd name="T7" fmla="*/ 26 h 135"/>
                <a:gd name="T8" fmla="*/ 70 w 70"/>
                <a:gd name="T9" fmla="*/ 0 h 135"/>
                <a:gd name="T10" fmla="*/ 36 w 70"/>
                <a:gd name="T11" fmla="*/ 0 h 135"/>
                <a:gd name="T12" fmla="*/ 36 w 70"/>
                <a:gd name="T13" fmla="*/ 7 h 135"/>
                <a:gd name="T14" fmla="*/ 36 w 70"/>
                <a:gd name="T15" fmla="*/ 7 h 135"/>
                <a:gd name="T16" fmla="*/ 62 w 70"/>
                <a:gd name="T17" fmla="*/ 34 h 135"/>
                <a:gd name="T18" fmla="*/ 36 w 70"/>
                <a:gd name="T19" fmla="*/ 60 h 135"/>
                <a:gd name="T20" fmla="*/ 36 w 70"/>
                <a:gd name="T21" fmla="*/ 135 h 135"/>
                <a:gd name="T22" fmla="*/ 0 w 70"/>
                <a:gd name="T23" fmla="*/ 135 h 135"/>
                <a:gd name="T24" fmla="*/ 36 w 70"/>
                <a:gd name="T25" fmla="*/ 135 h 135"/>
                <a:gd name="T26" fmla="*/ 36 w 70"/>
                <a:gd name="T27" fmla="*/ 60 h 135"/>
                <a:gd name="T28" fmla="*/ 9 w 70"/>
                <a:gd name="T29" fmla="*/ 34 h 135"/>
                <a:gd name="T30" fmla="*/ 36 w 70"/>
                <a:gd name="T31" fmla="*/ 7 h 135"/>
                <a:gd name="T32" fmla="*/ 36 w 70"/>
                <a:gd name="T33" fmla="*/ 0 h 135"/>
                <a:gd name="T34" fmla="*/ 0 w 70"/>
                <a:gd name="T35" fmla="*/ 0 h 135"/>
                <a:gd name="T36" fmla="*/ 0 w 70"/>
                <a:gd name="T37" fmla="*/ 135 h 135"/>
                <a:gd name="T38" fmla="*/ 36 w 70"/>
                <a:gd name="T39" fmla="*/ 7 h 135"/>
                <a:gd name="T40" fmla="*/ 36 w 70"/>
                <a:gd name="T41" fmla="*/ 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0" h="135">
                  <a:moveTo>
                    <a:pt x="36" y="135"/>
                  </a:moveTo>
                  <a:cubicBezTo>
                    <a:pt x="70" y="135"/>
                    <a:pt x="70" y="135"/>
                    <a:pt x="70" y="135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51" y="7"/>
                    <a:pt x="62" y="19"/>
                    <a:pt x="62" y="34"/>
                  </a:cubicBezTo>
                  <a:cubicBezTo>
                    <a:pt x="62" y="48"/>
                    <a:pt x="51" y="60"/>
                    <a:pt x="36" y="60"/>
                  </a:cubicBezTo>
                  <a:lnTo>
                    <a:pt x="36" y="135"/>
                  </a:lnTo>
                  <a:close/>
                  <a:moveTo>
                    <a:pt x="0" y="135"/>
                  </a:moveTo>
                  <a:cubicBezTo>
                    <a:pt x="36" y="135"/>
                    <a:pt x="36" y="135"/>
                    <a:pt x="36" y="135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21" y="60"/>
                    <a:pt x="9" y="48"/>
                    <a:pt x="9" y="34"/>
                  </a:cubicBezTo>
                  <a:cubicBezTo>
                    <a:pt x="9" y="19"/>
                    <a:pt x="21" y="7"/>
                    <a:pt x="36" y="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lose/>
                  <a:moveTo>
                    <a:pt x="36" y="7"/>
                  </a:moveTo>
                  <a:cubicBezTo>
                    <a:pt x="36" y="7"/>
                    <a:pt x="36" y="7"/>
                    <a:pt x="36" y="7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0" name="任意多边形: 形状 1699"/>
            <p:cNvSpPr/>
            <p:nvPr>
              <p:custDataLst>
                <p:tags r:id="rId292"/>
              </p:custDataLst>
            </p:nvPr>
          </p:nvSpPr>
          <p:spPr bwMode="auto">
            <a:xfrm flipH="1">
              <a:off x="2942144" y="5588254"/>
              <a:ext cx="293593" cy="276811"/>
            </a:xfrm>
            <a:custGeom>
              <a:avLst/>
              <a:gdLst>
                <a:gd name="T0" fmla="*/ 68 w 136"/>
                <a:gd name="T1" fmla="*/ 136 h 136"/>
                <a:gd name="T2" fmla="*/ 136 w 136"/>
                <a:gd name="T3" fmla="*/ 68 h 136"/>
                <a:gd name="T4" fmla="*/ 68 w 136"/>
                <a:gd name="T5" fmla="*/ 0 h 136"/>
                <a:gd name="T6" fmla="*/ 68 w 136"/>
                <a:gd name="T7" fmla="*/ 0 h 136"/>
                <a:gd name="T8" fmla="*/ 68 w 136"/>
                <a:gd name="T9" fmla="*/ 48 h 136"/>
                <a:gd name="T10" fmla="*/ 102 w 136"/>
                <a:gd name="T11" fmla="*/ 33 h 136"/>
                <a:gd name="T12" fmla="*/ 81 w 136"/>
                <a:gd name="T13" fmla="*/ 81 h 136"/>
                <a:gd name="T14" fmla="*/ 68 w 136"/>
                <a:gd name="T15" fmla="*/ 87 h 136"/>
                <a:gd name="T16" fmla="*/ 68 w 136"/>
                <a:gd name="T17" fmla="*/ 136 h 136"/>
                <a:gd name="T18" fmla="*/ 68 w 136"/>
                <a:gd name="T19" fmla="*/ 0 h 136"/>
                <a:gd name="T20" fmla="*/ 0 w 136"/>
                <a:gd name="T21" fmla="*/ 68 h 136"/>
                <a:gd name="T22" fmla="*/ 68 w 136"/>
                <a:gd name="T23" fmla="*/ 136 h 136"/>
                <a:gd name="T24" fmla="*/ 68 w 136"/>
                <a:gd name="T25" fmla="*/ 87 h 136"/>
                <a:gd name="T26" fmla="*/ 33 w 136"/>
                <a:gd name="T27" fmla="*/ 103 h 136"/>
                <a:gd name="T28" fmla="*/ 54 w 136"/>
                <a:gd name="T29" fmla="*/ 54 h 136"/>
                <a:gd name="T30" fmla="*/ 54 w 136"/>
                <a:gd name="T31" fmla="*/ 54 h 136"/>
                <a:gd name="T32" fmla="*/ 68 w 136"/>
                <a:gd name="T33" fmla="*/ 48 h 136"/>
                <a:gd name="T34" fmla="*/ 68 w 136"/>
                <a:gd name="T3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36">
                  <a:moveTo>
                    <a:pt x="68" y="136"/>
                  </a:moveTo>
                  <a:cubicBezTo>
                    <a:pt x="105" y="136"/>
                    <a:pt x="136" y="105"/>
                    <a:pt x="136" y="68"/>
                  </a:cubicBezTo>
                  <a:cubicBezTo>
                    <a:pt x="136" y="30"/>
                    <a:pt x="105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136"/>
                    <a:pt x="68" y="136"/>
                    <a:pt x="68" y="136"/>
                  </a:cubicBezTo>
                  <a:close/>
                  <a:moveTo>
                    <a:pt x="68" y="0"/>
                  </a:moveTo>
                  <a:cubicBezTo>
                    <a:pt x="30" y="0"/>
                    <a:pt x="0" y="30"/>
                    <a:pt x="0" y="68"/>
                  </a:cubicBezTo>
                  <a:cubicBezTo>
                    <a:pt x="0" y="105"/>
                    <a:pt x="30" y="136"/>
                    <a:pt x="68" y="136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68" y="48"/>
                    <a:pt x="68" y="48"/>
                    <a:pt x="68" y="48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1" name="椭圆 1700"/>
            <p:cNvSpPr/>
            <p:nvPr>
              <p:custDataLst>
                <p:tags r:id="rId293"/>
              </p:custDataLst>
            </p:nvPr>
          </p:nvSpPr>
          <p:spPr bwMode="auto">
            <a:xfrm flipH="1">
              <a:off x="3071617" y="5708606"/>
              <a:ext cx="34648" cy="32667"/>
            </a:xfrm>
            <a:prstGeom prst="ellipse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2" name="任意多边形: 形状 1701"/>
            <p:cNvSpPr/>
            <p:nvPr>
              <p:custDataLst>
                <p:tags r:id="rId294"/>
              </p:custDataLst>
            </p:nvPr>
          </p:nvSpPr>
          <p:spPr bwMode="auto">
            <a:xfrm flipH="1">
              <a:off x="3406240" y="2856260"/>
              <a:ext cx="194209" cy="357618"/>
            </a:xfrm>
            <a:custGeom>
              <a:avLst/>
              <a:gdLst>
                <a:gd name="T0" fmla="*/ 45 w 90"/>
                <a:gd name="T1" fmla="*/ 176 h 176"/>
                <a:gd name="T2" fmla="*/ 90 w 90"/>
                <a:gd name="T3" fmla="*/ 176 h 176"/>
                <a:gd name="T4" fmla="*/ 90 w 90"/>
                <a:gd name="T5" fmla="*/ 0 h 176"/>
                <a:gd name="T6" fmla="*/ 45 w 90"/>
                <a:gd name="T7" fmla="*/ 0 h 176"/>
                <a:gd name="T8" fmla="*/ 45 w 90"/>
                <a:gd name="T9" fmla="*/ 10 h 176"/>
                <a:gd name="T10" fmla="*/ 82 w 90"/>
                <a:gd name="T11" fmla="*/ 10 h 176"/>
                <a:gd name="T12" fmla="*/ 82 w 90"/>
                <a:gd name="T13" fmla="*/ 44 h 176"/>
                <a:gd name="T14" fmla="*/ 45 w 90"/>
                <a:gd name="T15" fmla="*/ 44 h 176"/>
                <a:gd name="T16" fmla="*/ 45 w 90"/>
                <a:gd name="T17" fmla="*/ 51 h 176"/>
                <a:gd name="T18" fmla="*/ 82 w 90"/>
                <a:gd name="T19" fmla="*/ 51 h 176"/>
                <a:gd name="T20" fmla="*/ 82 w 90"/>
                <a:gd name="T21" fmla="*/ 85 h 176"/>
                <a:gd name="T22" fmla="*/ 45 w 90"/>
                <a:gd name="T23" fmla="*/ 85 h 176"/>
                <a:gd name="T24" fmla="*/ 45 w 90"/>
                <a:gd name="T25" fmla="*/ 99 h 176"/>
                <a:gd name="T26" fmla="*/ 56 w 90"/>
                <a:gd name="T27" fmla="*/ 110 h 176"/>
                <a:gd name="T28" fmla="*/ 45 w 90"/>
                <a:gd name="T29" fmla="*/ 121 h 176"/>
                <a:gd name="T30" fmla="*/ 45 w 90"/>
                <a:gd name="T31" fmla="*/ 138 h 176"/>
                <a:gd name="T32" fmla="*/ 56 w 90"/>
                <a:gd name="T33" fmla="*/ 149 h 176"/>
                <a:gd name="T34" fmla="*/ 45 w 90"/>
                <a:gd name="T35" fmla="*/ 160 h 176"/>
                <a:gd name="T36" fmla="*/ 45 w 90"/>
                <a:gd name="T37" fmla="*/ 176 h 176"/>
                <a:gd name="T38" fmla="*/ 0 w 90"/>
                <a:gd name="T39" fmla="*/ 176 h 176"/>
                <a:gd name="T40" fmla="*/ 45 w 90"/>
                <a:gd name="T41" fmla="*/ 176 h 176"/>
                <a:gd name="T42" fmla="*/ 45 w 90"/>
                <a:gd name="T43" fmla="*/ 160 h 176"/>
                <a:gd name="T44" fmla="*/ 45 w 90"/>
                <a:gd name="T45" fmla="*/ 160 h 176"/>
                <a:gd name="T46" fmla="*/ 45 w 90"/>
                <a:gd name="T47" fmla="*/ 160 h 176"/>
                <a:gd name="T48" fmla="*/ 34 w 90"/>
                <a:gd name="T49" fmla="*/ 149 h 176"/>
                <a:gd name="T50" fmla="*/ 45 w 90"/>
                <a:gd name="T51" fmla="*/ 138 h 176"/>
                <a:gd name="T52" fmla="*/ 45 w 90"/>
                <a:gd name="T53" fmla="*/ 138 h 176"/>
                <a:gd name="T54" fmla="*/ 45 w 90"/>
                <a:gd name="T55" fmla="*/ 121 h 176"/>
                <a:gd name="T56" fmla="*/ 45 w 90"/>
                <a:gd name="T57" fmla="*/ 121 h 176"/>
                <a:gd name="T58" fmla="*/ 45 w 90"/>
                <a:gd name="T59" fmla="*/ 121 h 176"/>
                <a:gd name="T60" fmla="*/ 34 w 90"/>
                <a:gd name="T61" fmla="*/ 110 h 176"/>
                <a:gd name="T62" fmla="*/ 45 w 90"/>
                <a:gd name="T63" fmla="*/ 99 h 176"/>
                <a:gd name="T64" fmla="*/ 45 w 90"/>
                <a:gd name="T65" fmla="*/ 99 h 176"/>
                <a:gd name="T66" fmla="*/ 45 w 90"/>
                <a:gd name="T67" fmla="*/ 85 h 176"/>
                <a:gd name="T68" fmla="*/ 9 w 90"/>
                <a:gd name="T69" fmla="*/ 85 h 176"/>
                <a:gd name="T70" fmla="*/ 9 w 90"/>
                <a:gd name="T71" fmla="*/ 51 h 176"/>
                <a:gd name="T72" fmla="*/ 9 w 90"/>
                <a:gd name="T73" fmla="*/ 51 h 176"/>
                <a:gd name="T74" fmla="*/ 45 w 90"/>
                <a:gd name="T75" fmla="*/ 51 h 176"/>
                <a:gd name="T76" fmla="*/ 45 w 90"/>
                <a:gd name="T77" fmla="*/ 44 h 176"/>
                <a:gd name="T78" fmla="*/ 9 w 90"/>
                <a:gd name="T79" fmla="*/ 44 h 176"/>
                <a:gd name="T80" fmla="*/ 9 w 90"/>
                <a:gd name="T81" fmla="*/ 10 h 176"/>
                <a:gd name="T82" fmla="*/ 9 w 90"/>
                <a:gd name="T83" fmla="*/ 10 h 176"/>
                <a:gd name="T84" fmla="*/ 45 w 90"/>
                <a:gd name="T85" fmla="*/ 10 h 176"/>
                <a:gd name="T86" fmla="*/ 45 w 90"/>
                <a:gd name="T87" fmla="*/ 0 h 176"/>
                <a:gd name="T88" fmla="*/ 0 w 90"/>
                <a:gd name="T89" fmla="*/ 0 h 176"/>
                <a:gd name="T90" fmla="*/ 0 w 90"/>
                <a:gd name="T9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76">
                  <a:moveTo>
                    <a:pt x="45" y="176"/>
                  </a:moveTo>
                  <a:cubicBezTo>
                    <a:pt x="90" y="176"/>
                    <a:pt x="90" y="176"/>
                    <a:pt x="90" y="176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85"/>
                    <a:pt x="82" y="85"/>
                    <a:pt x="82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51" y="99"/>
                    <a:pt x="56" y="104"/>
                    <a:pt x="56" y="110"/>
                  </a:cubicBezTo>
                  <a:cubicBezTo>
                    <a:pt x="56" y="116"/>
                    <a:pt x="51" y="121"/>
                    <a:pt x="45" y="121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51" y="138"/>
                    <a:pt x="56" y="143"/>
                    <a:pt x="56" y="149"/>
                  </a:cubicBezTo>
                  <a:cubicBezTo>
                    <a:pt x="56" y="155"/>
                    <a:pt x="51" y="160"/>
                    <a:pt x="45" y="160"/>
                  </a:cubicBezTo>
                  <a:lnTo>
                    <a:pt x="45" y="176"/>
                  </a:lnTo>
                  <a:close/>
                  <a:moveTo>
                    <a:pt x="0" y="176"/>
                  </a:moveTo>
                  <a:cubicBezTo>
                    <a:pt x="45" y="176"/>
                    <a:pt x="45" y="176"/>
                    <a:pt x="45" y="176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39" y="160"/>
                    <a:pt x="34" y="155"/>
                    <a:pt x="34" y="149"/>
                  </a:cubicBezTo>
                  <a:cubicBezTo>
                    <a:pt x="34" y="143"/>
                    <a:pt x="39" y="138"/>
                    <a:pt x="4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39" y="121"/>
                    <a:pt x="34" y="116"/>
                    <a:pt x="34" y="110"/>
                  </a:cubicBezTo>
                  <a:cubicBezTo>
                    <a:pt x="34" y="104"/>
                    <a:pt x="39" y="99"/>
                    <a:pt x="45" y="99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3" name="任意多边形: 形状 1702"/>
            <p:cNvSpPr/>
            <p:nvPr>
              <p:custDataLst>
                <p:tags r:id="rId295"/>
              </p:custDataLst>
            </p:nvPr>
          </p:nvSpPr>
          <p:spPr bwMode="auto">
            <a:xfrm flipH="1">
              <a:off x="3309592" y="2856260"/>
              <a:ext cx="81149" cy="357618"/>
            </a:xfrm>
            <a:custGeom>
              <a:avLst/>
              <a:gdLst>
                <a:gd name="T0" fmla="*/ 89 w 89"/>
                <a:gd name="T1" fmla="*/ 392 h 416"/>
                <a:gd name="T2" fmla="*/ 89 w 89"/>
                <a:gd name="T3" fmla="*/ 70 h 416"/>
                <a:gd name="T4" fmla="*/ 0 w 89"/>
                <a:gd name="T5" fmla="*/ 0 h 416"/>
                <a:gd name="T6" fmla="*/ 0 w 89"/>
                <a:gd name="T7" fmla="*/ 416 h 416"/>
                <a:gd name="T8" fmla="*/ 89 w 89"/>
                <a:gd name="T9" fmla="*/ 392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416">
                  <a:moveTo>
                    <a:pt x="89" y="392"/>
                  </a:moveTo>
                  <a:lnTo>
                    <a:pt x="89" y="70"/>
                  </a:lnTo>
                  <a:lnTo>
                    <a:pt x="0" y="0"/>
                  </a:lnTo>
                  <a:lnTo>
                    <a:pt x="0" y="416"/>
                  </a:lnTo>
                  <a:lnTo>
                    <a:pt x="89" y="39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4" name="矩形 1703"/>
            <p:cNvSpPr/>
            <p:nvPr>
              <p:custDataLst>
                <p:tags r:id="rId296"/>
              </p:custDataLst>
            </p:nvPr>
          </p:nvSpPr>
          <p:spPr bwMode="auto">
            <a:xfrm flipH="1">
              <a:off x="3434506" y="2886348"/>
              <a:ext cx="135855" cy="49001"/>
            </a:xfrm>
            <a:prstGeom prst="rect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5" name="矩形 1704"/>
            <p:cNvSpPr/>
            <p:nvPr>
              <p:custDataLst>
                <p:tags r:id="rId297"/>
              </p:custDataLst>
            </p:nvPr>
          </p:nvSpPr>
          <p:spPr bwMode="auto">
            <a:xfrm flipH="1">
              <a:off x="3434506" y="2969736"/>
              <a:ext cx="135855" cy="49001"/>
            </a:xfrm>
            <a:prstGeom prst="rect">
              <a:avLst/>
            </a:pr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6" name="任意多边形: 形状 1705"/>
            <p:cNvSpPr/>
            <p:nvPr>
              <p:custDataLst>
                <p:tags r:id="rId298"/>
              </p:custDataLst>
            </p:nvPr>
          </p:nvSpPr>
          <p:spPr bwMode="auto">
            <a:xfrm flipH="1">
              <a:off x="2118808" y="1498000"/>
              <a:ext cx="360152" cy="336986"/>
            </a:xfrm>
            <a:custGeom>
              <a:avLst/>
              <a:gdLst>
                <a:gd name="T0" fmla="*/ 167 w 167"/>
                <a:gd name="T1" fmla="*/ 0 h 166"/>
                <a:gd name="T2" fmla="*/ 84 w 167"/>
                <a:gd name="T3" fmla="*/ 0 h 166"/>
                <a:gd name="T4" fmla="*/ 84 w 167"/>
                <a:gd name="T5" fmla="*/ 13 h 166"/>
                <a:gd name="T6" fmla="*/ 84 w 167"/>
                <a:gd name="T7" fmla="*/ 13 h 166"/>
                <a:gd name="T8" fmla="*/ 84 w 167"/>
                <a:gd name="T9" fmla="*/ 13 h 166"/>
                <a:gd name="T10" fmla="*/ 97 w 167"/>
                <a:gd name="T11" fmla="*/ 26 h 166"/>
                <a:gd name="T12" fmla="*/ 84 w 167"/>
                <a:gd name="T13" fmla="*/ 39 h 166"/>
                <a:gd name="T14" fmla="*/ 84 w 167"/>
                <a:gd name="T15" fmla="*/ 39 h 166"/>
                <a:gd name="T16" fmla="*/ 84 w 167"/>
                <a:gd name="T17" fmla="*/ 51 h 166"/>
                <a:gd name="T18" fmla="*/ 106 w 167"/>
                <a:gd name="T19" fmla="*/ 51 h 166"/>
                <a:gd name="T20" fmla="*/ 106 w 167"/>
                <a:gd name="T21" fmla="*/ 63 h 166"/>
                <a:gd name="T22" fmla="*/ 106 w 167"/>
                <a:gd name="T23" fmla="*/ 63 h 166"/>
                <a:gd name="T24" fmla="*/ 91 w 167"/>
                <a:gd name="T25" fmla="*/ 63 h 166"/>
                <a:gd name="T26" fmla="*/ 91 w 167"/>
                <a:gd name="T27" fmla="*/ 140 h 166"/>
                <a:gd name="T28" fmla="*/ 106 w 167"/>
                <a:gd name="T29" fmla="*/ 140 h 166"/>
                <a:gd name="T30" fmla="*/ 106 w 167"/>
                <a:gd name="T31" fmla="*/ 152 h 166"/>
                <a:gd name="T32" fmla="*/ 84 w 167"/>
                <a:gd name="T33" fmla="*/ 152 h 166"/>
                <a:gd name="T34" fmla="*/ 84 w 167"/>
                <a:gd name="T35" fmla="*/ 166 h 166"/>
                <a:gd name="T36" fmla="*/ 167 w 167"/>
                <a:gd name="T37" fmla="*/ 166 h 166"/>
                <a:gd name="T38" fmla="*/ 167 w 167"/>
                <a:gd name="T39" fmla="*/ 0 h 166"/>
                <a:gd name="T40" fmla="*/ 84 w 167"/>
                <a:gd name="T41" fmla="*/ 0 h 166"/>
                <a:gd name="T42" fmla="*/ 0 w 167"/>
                <a:gd name="T43" fmla="*/ 0 h 166"/>
                <a:gd name="T44" fmla="*/ 0 w 167"/>
                <a:gd name="T45" fmla="*/ 166 h 166"/>
                <a:gd name="T46" fmla="*/ 84 w 167"/>
                <a:gd name="T47" fmla="*/ 166 h 166"/>
                <a:gd name="T48" fmla="*/ 84 w 167"/>
                <a:gd name="T49" fmla="*/ 152 h 166"/>
                <a:gd name="T50" fmla="*/ 62 w 167"/>
                <a:gd name="T51" fmla="*/ 152 h 166"/>
                <a:gd name="T52" fmla="*/ 62 w 167"/>
                <a:gd name="T53" fmla="*/ 140 h 166"/>
                <a:gd name="T54" fmla="*/ 77 w 167"/>
                <a:gd name="T55" fmla="*/ 140 h 166"/>
                <a:gd name="T56" fmla="*/ 77 w 167"/>
                <a:gd name="T57" fmla="*/ 63 h 166"/>
                <a:gd name="T58" fmla="*/ 62 w 167"/>
                <a:gd name="T59" fmla="*/ 63 h 166"/>
                <a:gd name="T60" fmla="*/ 62 w 167"/>
                <a:gd name="T61" fmla="*/ 51 h 166"/>
                <a:gd name="T62" fmla="*/ 84 w 167"/>
                <a:gd name="T63" fmla="*/ 51 h 166"/>
                <a:gd name="T64" fmla="*/ 84 w 167"/>
                <a:gd name="T65" fmla="*/ 39 h 166"/>
                <a:gd name="T66" fmla="*/ 71 w 167"/>
                <a:gd name="T67" fmla="*/ 26 h 166"/>
                <a:gd name="T68" fmla="*/ 84 w 167"/>
                <a:gd name="T69" fmla="*/ 13 h 166"/>
                <a:gd name="T70" fmla="*/ 84 w 167"/>
                <a:gd name="T7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7" h="166">
                  <a:moveTo>
                    <a:pt x="167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92" y="13"/>
                    <a:pt x="97" y="19"/>
                    <a:pt x="97" y="26"/>
                  </a:cubicBezTo>
                  <a:cubicBezTo>
                    <a:pt x="97" y="33"/>
                    <a:pt x="92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63"/>
                    <a:pt x="106" y="63"/>
                    <a:pt x="106" y="63"/>
                  </a:cubicBezTo>
                  <a:cubicBezTo>
                    <a:pt x="106" y="63"/>
                    <a:pt x="106" y="63"/>
                    <a:pt x="106" y="63"/>
                  </a:cubicBezTo>
                  <a:cubicBezTo>
                    <a:pt x="91" y="63"/>
                    <a:pt x="91" y="63"/>
                    <a:pt x="91" y="63"/>
                  </a:cubicBezTo>
                  <a:cubicBezTo>
                    <a:pt x="91" y="140"/>
                    <a:pt x="91" y="140"/>
                    <a:pt x="91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84" y="166"/>
                    <a:pt x="84" y="166"/>
                    <a:pt x="84" y="166"/>
                  </a:cubicBezTo>
                  <a:cubicBezTo>
                    <a:pt x="167" y="166"/>
                    <a:pt x="167" y="166"/>
                    <a:pt x="167" y="166"/>
                  </a:cubicBezTo>
                  <a:lnTo>
                    <a:pt x="167" y="0"/>
                  </a:lnTo>
                  <a:close/>
                  <a:moveTo>
                    <a:pt x="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84" y="166"/>
                    <a:pt x="84" y="166"/>
                    <a:pt x="84" y="166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62" y="152"/>
                    <a:pt x="62" y="152"/>
                    <a:pt x="62" y="152"/>
                  </a:cubicBezTo>
                  <a:cubicBezTo>
                    <a:pt x="62" y="140"/>
                    <a:pt x="62" y="140"/>
                    <a:pt x="62" y="140"/>
                  </a:cubicBezTo>
                  <a:cubicBezTo>
                    <a:pt x="77" y="140"/>
                    <a:pt x="77" y="140"/>
                    <a:pt x="77" y="140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77" y="39"/>
                    <a:pt x="71" y="33"/>
                    <a:pt x="71" y="26"/>
                  </a:cubicBezTo>
                  <a:cubicBezTo>
                    <a:pt x="71" y="19"/>
                    <a:pt x="77" y="13"/>
                    <a:pt x="84" y="13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7" name="任意多边形: 形状 1706"/>
            <p:cNvSpPr/>
            <p:nvPr>
              <p:custDataLst>
                <p:tags r:id="rId299"/>
              </p:custDataLst>
            </p:nvPr>
          </p:nvSpPr>
          <p:spPr bwMode="auto">
            <a:xfrm flipH="1">
              <a:off x="3036969" y="4950387"/>
              <a:ext cx="291768" cy="64475"/>
            </a:xfrm>
            <a:custGeom>
              <a:avLst/>
              <a:gdLst>
                <a:gd name="T0" fmla="*/ 291 w 320"/>
                <a:gd name="T1" fmla="*/ 47 h 75"/>
                <a:gd name="T2" fmla="*/ 29 w 320"/>
                <a:gd name="T3" fmla="*/ 47 h 75"/>
                <a:gd name="T4" fmla="*/ 29 w 320"/>
                <a:gd name="T5" fmla="*/ 0 h 75"/>
                <a:gd name="T6" fmla="*/ 0 w 320"/>
                <a:gd name="T7" fmla="*/ 0 h 75"/>
                <a:gd name="T8" fmla="*/ 0 w 320"/>
                <a:gd name="T9" fmla="*/ 75 h 75"/>
                <a:gd name="T10" fmla="*/ 320 w 320"/>
                <a:gd name="T11" fmla="*/ 75 h 75"/>
                <a:gd name="T12" fmla="*/ 320 w 320"/>
                <a:gd name="T13" fmla="*/ 0 h 75"/>
                <a:gd name="T14" fmla="*/ 291 w 320"/>
                <a:gd name="T15" fmla="*/ 0 h 75"/>
                <a:gd name="T16" fmla="*/ 291 w 320"/>
                <a:gd name="T17" fmla="*/ 4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0" h="75">
                  <a:moveTo>
                    <a:pt x="291" y="47"/>
                  </a:moveTo>
                  <a:lnTo>
                    <a:pt x="29" y="47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75"/>
                  </a:lnTo>
                  <a:lnTo>
                    <a:pt x="320" y="75"/>
                  </a:lnTo>
                  <a:lnTo>
                    <a:pt x="320" y="0"/>
                  </a:lnTo>
                  <a:lnTo>
                    <a:pt x="291" y="0"/>
                  </a:lnTo>
                  <a:lnTo>
                    <a:pt x="291" y="4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8" name="任意多边形: 形状 1707"/>
            <p:cNvSpPr/>
            <p:nvPr>
              <p:custDataLst>
                <p:tags r:id="rId300"/>
              </p:custDataLst>
            </p:nvPr>
          </p:nvSpPr>
          <p:spPr bwMode="auto">
            <a:xfrm flipH="1">
              <a:off x="3071618" y="4755245"/>
              <a:ext cx="216091" cy="217494"/>
            </a:xfrm>
            <a:custGeom>
              <a:avLst/>
              <a:gdLst>
                <a:gd name="T0" fmla="*/ 40 w 237"/>
                <a:gd name="T1" fmla="*/ 146 h 253"/>
                <a:gd name="T2" fmla="*/ 40 w 237"/>
                <a:gd name="T3" fmla="*/ 253 h 253"/>
                <a:gd name="T4" fmla="*/ 194 w 237"/>
                <a:gd name="T5" fmla="*/ 253 h 253"/>
                <a:gd name="T6" fmla="*/ 194 w 237"/>
                <a:gd name="T7" fmla="*/ 146 h 253"/>
                <a:gd name="T8" fmla="*/ 237 w 237"/>
                <a:gd name="T9" fmla="*/ 146 h 253"/>
                <a:gd name="T10" fmla="*/ 118 w 237"/>
                <a:gd name="T11" fmla="*/ 0 h 253"/>
                <a:gd name="T12" fmla="*/ 0 w 237"/>
                <a:gd name="T13" fmla="*/ 146 h 253"/>
                <a:gd name="T14" fmla="*/ 40 w 237"/>
                <a:gd name="T15" fmla="*/ 14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7" h="253">
                  <a:moveTo>
                    <a:pt x="40" y="146"/>
                  </a:moveTo>
                  <a:lnTo>
                    <a:pt x="40" y="253"/>
                  </a:lnTo>
                  <a:lnTo>
                    <a:pt x="194" y="253"/>
                  </a:lnTo>
                  <a:lnTo>
                    <a:pt x="194" y="146"/>
                  </a:lnTo>
                  <a:lnTo>
                    <a:pt x="237" y="146"/>
                  </a:lnTo>
                  <a:lnTo>
                    <a:pt x="118" y="0"/>
                  </a:lnTo>
                  <a:lnTo>
                    <a:pt x="0" y="146"/>
                  </a:lnTo>
                  <a:lnTo>
                    <a:pt x="40" y="14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09" name="任意多边形: 形状 1708"/>
            <p:cNvSpPr/>
            <p:nvPr>
              <p:custDataLst>
                <p:tags r:id="rId301"/>
              </p:custDataLst>
            </p:nvPr>
          </p:nvSpPr>
          <p:spPr bwMode="auto">
            <a:xfrm flipH="1">
              <a:off x="1251706" y="2916436"/>
              <a:ext cx="310004" cy="232108"/>
            </a:xfrm>
            <a:custGeom>
              <a:avLst/>
              <a:gdLst>
                <a:gd name="T0" fmla="*/ 129 w 144"/>
                <a:gd name="T1" fmla="*/ 25 h 114"/>
                <a:gd name="T2" fmla="*/ 116 w 144"/>
                <a:gd name="T3" fmla="*/ 26 h 114"/>
                <a:gd name="T4" fmla="*/ 116 w 144"/>
                <a:gd name="T5" fmla="*/ 32 h 114"/>
                <a:gd name="T6" fmla="*/ 131 w 144"/>
                <a:gd name="T7" fmla="*/ 64 h 114"/>
                <a:gd name="T8" fmla="*/ 131 w 144"/>
                <a:gd name="T9" fmla="*/ 79 h 114"/>
                <a:gd name="T10" fmla="*/ 116 w 144"/>
                <a:gd name="T11" fmla="*/ 114 h 114"/>
                <a:gd name="T12" fmla="*/ 144 w 144"/>
                <a:gd name="T13" fmla="*/ 107 h 114"/>
                <a:gd name="T14" fmla="*/ 144 w 144"/>
                <a:gd name="T15" fmla="*/ 41 h 114"/>
                <a:gd name="T16" fmla="*/ 116 w 144"/>
                <a:gd name="T17" fmla="*/ 0 h 114"/>
                <a:gd name="T18" fmla="*/ 72 w 144"/>
                <a:gd name="T19" fmla="*/ 9 h 114"/>
                <a:gd name="T20" fmla="*/ 116 w 144"/>
                <a:gd name="T21" fmla="*/ 26 h 114"/>
                <a:gd name="T22" fmla="*/ 72 w 144"/>
                <a:gd name="T23" fmla="*/ 91 h 114"/>
                <a:gd name="T24" fmla="*/ 110 w 144"/>
                <a:gd name="T25" fmla="*/ 107 h 114"/>
                <a:gd name="T26" fmla="*/ 116 w 144"/>
                <a:gd name="T27" fmla="*/ 114 h 114"/>
                <a:gd name="T28" fmla="*/ 102 w 144"/>
                <a:gd name="T29" fmla="*/ 79 h 114"/>
                <a:gd name="T30" fmla="*/ 116 w 144"/>
                <a:gd name="T31" fmla="*/ 64 h 114"/>
                <a:gd name="T32" fmla="*/ 72 w 144"/>
                <a:gd name="T33" fmla="*/ 32 h 114"/>
                <a:gd name="T34" fmla="*/ 72 w 144"/>
                <a:gd name="T35" fmla="*/ 0 h 114"/>
                <a:gd name="T36" fmla="*/ 27 w 144"/>
                <a:gd name="T37" fmla="*/ 1 h 114"/>
                <a:gd name="T38" fmla="*/ 36 w 144"/>
                <a:gd name="T39" fmla="*/ 9 h 114"/>
                <a:gd name="T40" fmla="*/ 72 w 144"/>
                <a:gd name="T41" fmla="*/ 9 h 114"/>
                <a:gd name="T42" fmla="*/ 27 w 144"/>
                <a:gd name="T43" fmla="*/ 114 h 114"/>
                <a:gd name="T44" fmla="*/ 34 w 144"/>
                <a:gd name="T45" fmla="*/ 107 h 114"/>
                <a:gd name="T46" fmla="*/ 72 w 144"/>
                <a:gd name="T47" fmla="*/ 91 h 114"/>
                <a:gd name="T48" fmla="*/ 27 w 144"/>
                <a:gd name="T49" fmla="*/ 32 h 114"/>
                <a:gd name="T50" fmla="*/ 42 w 144"/>
                <a:gd name="T51" fmla="*/ 64 h 114"/>
                <a:gd name="T52" fmla="*/ 42 w 144"/>
                <a:gd name="T53" fmla="*/ 79 h 114"/>
                <a:gd name="T54" fmla="*/ 27 w 144"/>
                <a:gd name="T55" fmla="*/ 114 h 114"/>
                <a:gd name="T56" fmla="*/ 14 w 144"/>
                <a:gd name="T57" fmla="*/ 25 h 114"/>
                <a:gd name="T58" fmla="*/ 0 w 144"/>
                <a:gd name="T59" fmla="*/ 87 h 114"/>
                <a:gd name="T60" fmla="*/ 0 w 144"/>
                <a:gd name="T61" fmla="*/ 107 h 114"/>
                <a:gd name="T62" fmla="*/ 27 w 144"/>
                <a:gd name="T63" fmla="*/ 114 h 114"/>
                <a:gd name="T64" fmla="*/ 13 w 144"/>
                <a:gd name="T65" fmla="*/ 79 h 114"/>
                <a:gd name="T66" fmla="*/ 27 w 144"/>
                <a:gd name="T67" fmla="*/ 64 h 114"/>
                <a:gd name="T68" fmla="*/ 24 w 144"/>
                <a:gd name="T69" fmla="*/ 32 h 114"/>
                <a:gd name="T70" fmla="*/ 27 w 144"/>
                <a:gd name="T71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4" h="114">
                  <a:moveTo>
                    <a:pt x="144" y="41"/>
                  </a:moveTo>
                  <a:cubicBezTo>
                    <a:pt x="129" y="25"/>
                    <a:pt x="129" y="25"/>
                    <a:pt x="129" y="25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16" y="114"/>
                    <a:pt x="116" y="114"/>
                    <a:pt x="116" y="114"/>
                  </a:cubicBezTo>
                  <a:cubicBezTo>
                    <a:pt x="137" y="114"/>
                    <a:pt x="137" y="114"/>
                    <a:pt x="137" y="114"/>
                  </a:cubicBezTo>
                  <a:cubicBezTo>
                    <a:pt x="141" y="114"/>
                    <a:pt x="144" y="111"/>
                    <a:pt x="144" y="107"/>
                  </a:cubicBezTo>
                  <a:cubicBezTo>
                    <a:pt x="144" y="91"/>
                    <a:pt x="144" y="91"/>
                    <a:pt x="144" y="91"/>
                  </a:cubicBezTo>
                  <a:lnTo>
                    <a:pt x="144" y="41"/>
                  </a:lnTo>
                  <a:close/>
                  <a:moveTo>
                    <a:pt x="116" y="1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16" y="1"/>
                    <a:pt x="116" y="1"/>
                    <a:pt x="116" y="1"/>
                  </a:cubicBezTo>
                  <a:close/>
                  <a:moveTo>
                    <a:pt x="72" y="91"/>
                  </a:moveTo>
                  <a:cubicBezTo>
                    <a:pt x="110" y="91"/>
                    <a:pt x="110" y="91"/>
                    <a:pt x="110" y="91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11"/>
                    <a:pt x="112" y="114"/>
                    <a:pt x="116" y="114"/>
                  </a:cubicBezTo>
                  <a:cubicBezTo>
                    <a:pt x="116" y="114"/>
                    <a:pt x="116" y="114"/>
                    <a:pt x="116" y="114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72" y="32"/>
                    <a:pt x="72" y="32"/>
                    <a:pt x="72" y="32"/>
                  </a:cubicBezTo>
                  <a:lnTo>
                    <a:pt x="72" y="91"/>
                  </a:lnTo>
                  <a:close/>
                  <a:moveTo>
                    <a:pt x="72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2" y="0"/>
                    <a:pt x="72" y="0"/>
                    <a:pt x="72" y="0"/>
                  </a:cubicBezTo>
                  <a:close/>
                  <a:moveTo>
                    <a:pt x="27" y="114"/>
                  </a:moveTo>
                  <a:cubicBezTo>
                    <a:pt x="28" y="114"/>
                    <a:pt x="28" y="114"/>
                    <a:pt x="28" y="114"/>
                  </a:cubicBezTo>
                  <a:cubicBezTo>
                    <a:pt x="31" y="114"/>
                    <a:pt x="34" y="111"/>
                    <a:pt x="34" y="107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27" y="79"/>
                    <a:pt x="27" y="79"/>
                    <a:pt x="27" y="79"/>
                  </a:cubicBezTo>
                  <a:lnTo>
                    <a:pt x="27" y="114"/>
                  </a:lnTo>
                  <a:close/>
                  <a:moveTo>
                    <a:pt x="27" y="1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1"/>
                    <a:pt x="3" y="114"/>
                    <a:pt x="7" y="114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7" y="26"/>
                    <a:pt x="27" y="26"/>
                    <a:pt x="27" y="26"/>
                  </a:cubicBezTo>
                  <a:lnTo>
                    <a:pt x="27" y="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0" name="椭圆 1709"/>
            <p:cNvSpPr/>
            <p:nvPr>
              <p:custDataLst>
                <p:tags r:id="rId302"/>
              </p:custDataLst>
            </p:nvPr>
          </p:nvSpPr>
          <p:spPr bwMode="auto">
            <a:xfrm flipH="1">
              <a:off x="1465063" y="2040444"/>
              <a:ext cx="77501" cy="7307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1" name="任意多边形: 形状 1710"/>
            <p:cNvSpPr/>
            <p:nvPr>
              <p:custDataLst>
                <p:tags r:id="rId303"/>
              </p:custDataLst>
            </p:nvPr>
          </p:nvSpPr>
          <p:spPr bwMode="auto">
            <a:xfrm flipH="1">
              <a:off x="1413092" y="2125551"/>
              <a:ext cx="183266" cy="270792"/>
            </a:xfrm>
            <a:custGeom>
              <a:avLst/>
              <a:gdLst>
                <a:gd name="T0" fmla="*/ 33 w 201"/>
                <a:gd name="T1" fmla="*/ 60 h 315"/>
                <a:gd name="T2" fmla="*/ 45 w 201"/>
                <a:gd name="T3" fmla="*/ 60 h 315"/>
                <a:gd name="T4" fmla="*/ 45 w 201"/>
                <a:gd name="T5" fmla="*/ 161 h 315"/>
                <a:gd name="T6" fmla="*/ 45 w 201"/>
                <a:gd name="T7" fmla="*/ 161 h 315"/>
                <a:gd name="T8" fmla="*/ 45 w 201"/>
                <a:gd name="T9" fmla="*/ 315 h 315"/>
                <a:gd name="T10" fmla="*/ 95 w 201"/>
                <a:gd name="T11" fmla="*/ 315 h 315"/>
                <a:gd name="T12" fmla="*/ 95 w 201"/>
                <a:gd name="T13" fmla="*/ 149 h 315"/>
                <a:gd name="T14" fmla="*/ 109 w 201"/>
                <a:gd name="T15" fmla="*/ 149 h 315"/>
                <a:gd name="T16" fmla="*/ 109 w 201"/>
                <a:gd name="T17" fmla="*/ 315 h 315"/>
                <a:gd name="T18" fmla="*/ 158 w 201"/>
                <a:gd name="T19" fmla="*/ 315 h 315"/>
                <a:gd name="T20" fmla="*/ 158 w 201"/>
                <a:gd name="T21" fmla="*/ 149 h 315"/>
                <a:gd name="T22" fmla="*/ 158 w 201"/>
                <a:gd name="T23" fmla="*/ 149 h 315"/>
                <a:gd name="T24" fmla="*/ 158 w 201"/>
                <a:gd name="T25" fmla="*/ 60 h 315"/>
                <a:gd name="T26" fmla="*/ 170 w 201"/>
                <a:gd name="T27" fmla="*/ 60 h 315"/>
                <a:gd name="T28" fmla="*/ 170 w 201"/>
                <a:gd name="T29" fmla="*/ 149 h 315"/>
                <a:gd name="T30" fmla="*/ 201 w 201"/>
                <a:gd name="T31" fmla="*/ 149 h 315"/>
                <a:gd name="T32" fmla="*/ 201 w 201"/>
                <a:gd name="T33" fmla="*/ 0 h 315"/>
                <a:gd name="T34" fmla="*/ 0 w 201"/>
                <a:gd name="T35" fmla="*/ 0 h 315"/>
                <a:gd name="T36" fmla="*/ 0 w 201"/>
                <a:gd name="T37" fmla="*/ 149 h 315"/>
                <a:gd name="T38" fmla="*/ 33 w 201"/>
                <a:gd name="T39" fmla="*/ 149 h 315"/>
                <a:gd name="T40" fmla="*/ 33 w 201"/>
                <a:gd name="T41" fmla="*/ 6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1" h="315">
                  <a:moveTo>
                    <a:pt x="33" y="60"/>
                  </a:moveTo>
                  <a:lnTo>
                    <a:pt x="45" y="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315"/>
                  </a:lnTo>
                  <a:lnTo>
                    <a:pt x="95" y="315"/>
                  </a:lnTo>
                  <a:lnTo>
                    <a:pt x="95" y="149"/>
                  </a:lnTo>
                  <a:lnTo>
                    <a:pt x="109" y="149"/>
                  </a:lnTo>
                  <a:lnTo>
                    <a:pt x="109" y="315"/>
                  </a:lnTo>
                  <a:lnTo>
                    <a:pt x="158" y="315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60"/>
                  </a:lnTo>
                  <a:lnTo>
                    <a:pt x="170" y="60"/>
                  </a:lnTo>
                  <a:lnTo>
                    <a:pt x="170" y="149"/>
                  </a:lnTo>
                  <a:lnTo>
                    <a:pt x="201" y="149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149"/>
                  </a:lnTo>
                  <a:lnTo>
                    <a:pt x="33" y="149"/>
                  </a:lnTo>
                  <a:lnTo>
                    <a:pt x="33" y="6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2" name="椭圆 1711"/>
            <p:cNvSpPr/>
            <p:nvPr>
              <p:custDataLst>
                <p:tags r:id="rId304"/>
              </p:custDataLst>
            </p:nvPr>
          </p:nvSpPr>
          <p:spPr bwMode="auto">
            <a:xfrm flipH="1">
              <a:off x="1255354" y="2040444"/>
              <a:ext cx="77501" cy="7307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3" name="任意多边形: 形状 1712"/>
            <p:cNvSpPr/>
            <p:nvPr>
              <p:custDataLst>
                <p:tags r:id="rId305"/>
              </p:custDataLst>
            </p:nvPr>
          </p:nvSpPr>
          <p:spPr bwMode="auto">
            <a:xfrm flipH="1">
              <a:off x="1188794" y="2125551"/>
              <a:ext cx="211533" cy="270792"/>
            </a:xfrm>
            <a:custGeom>
              <a:avLst/>
              <a:gdLst>
                <a:gd name="T0" fmla="*/ 199 w 232"/>
                <a:gd name="T1" fmla="*/ 149 h 315"/>
                <a:gd name="T2" fmla="*/ 232 w 232"/>
                <a:gd name="T3" fmla="*/ 149 h 315"/>
                <a:gd name="T4" fmla="*/ 192 w 232"/>
                <a:gd name="T5" fmla="*/ 0 h 315"/>
                <a:gd name="T6" fmla="*/ 43 w 232"/>
                <a:gd name="T7" fmla="*/ 0 h 315"/>
                <a:gd name="T8" fmla="*/ 0 w 232"/>
                <a:gd name="T9" fmla="*/ 149 h 315"/>
                <a:gd name="T10" fmla="*/ 31 w 232"/>
                <a:gd name="T11" fmla="*/ 149 h 315"/>
                <a:gd name="T12" fmla="*/ 57 w 232"/>
                <a:gd name="T13" fmla="*/ 60 h 315"/>
                <a:gd name="T14" fmla="*/ 66 w 232"/>
                <a:gd name="T15" fmla="*/ 60 h 315"/>
                <a:gd name="T16" fmla="*/ 24 w 232"/>
                <a:gd name="T17" fmla="*/ 225 h 315"/>
                <a:gd name="T18" fmla="*/ 59 w 232"/>
                <a:gd name="T19" fmla="*/ 225 h 315"/>
                <a:gd name="T20" fmla="*/ 59 w 232"/>
                <a:gd name="T21" fmla="*/ 315 h 315"/>
                <a:gd name="T22" fmla="*/ 109 w 232"/>
                <a:gd name="T23" fmla="*/ 315 h 315"/>
                <a:gd name="T24" fmla="*/ 109 w 232"/>
                <a:gd name="T25" fmla="*/ 225 h 315"/>
                <a:gd name="T26" fmla="*/ 123 w 232"/>
                <a:gd name="T27" fmla="*/ 225 h 315"/>
                <a:gd name="T28" fmla="*/ 123 w 232"/>
                <a:gd name="T29" fmla="*/ 315 h 315"/>
                <a:gd name="T30" fmla="*/ 173 w 232"/>
                <a:gd name="T31" fmla="*/ 315 h 315"/>
                <a:gd name="T32" fmla="*/ 173 w 232"/>
                <a:gd name="T33" fmla="*/ 225 h 315"/>
                <a:gd name="T34" fmla="*/ 208 w 232"/>
                <a:gd name="T35" fmla="*/ 225 h 315"/>
                <a:gd name="T36" fmla="*/ 163 w 232"/>
                <a:gd name="T37" fmla="*/ 60 h 315"/>
                <a:gd name="T38" fmla="*/ 175 w 232"/>
                <a:gd name="T39" fmla="*/ 60 h 315"/>
                <a:gd name="T40" fmla="*/ 199 w 232"/>
                <a:gd name="T41" fmla="*/ 149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2" h="315">
                  <a:moveTo>
                    <a:pt x="199" y="149"/>
                  </a:moveTo>
                  <a:lnTo>
                    <a:pt x="232" y="149"/>
                  </a:lnTo>
                  <a:lnTo>
                    <a:pt x="192" y="0"/>
                  </a:lnTo>
                  <a:lnTo>
                    <a:pt x="43" y="0"/>
                  </a:lnTo>
                  <a:lnTo>
                    <a:pt x="0" y="149"/>
                  </a:lnTo>
                  <a:lnTo>
                    <a:pt x="31" y="149"/>
                  </a:lnTo>
                  <a:lnTo>
                    <a:pt x="57" y="60"/>
                  </a:lnTo>
                  <a:lnTo>
                    <a:pt x="66" y="60"/>
                  </a:lnTo>
                  <a:lnTo>
                    <a:pt x="24" y="225"/>
                  </a:lnTo>
                  <a:lnTo>
                    <a:pt x="59" y="225"/>
                  </a:lnTo>
                  <a:lnTo>
                    <a:pt x="59" y="315"/>
                  </a:lnTo>
                  <a:lnTo>
                    <a:pt x="109" y="315"/>
                  </a:lnTo>
                  <a:lnTo>
                    <a:pt x="109" y="225"/>
                  </a:lnTo>
                  <a:lnTo>
                    <a:pt x="123" y="225"/>
                  </a:lnTo>
                  <a:lnTo>
                    <a:pt x="123" y="315"/>
                  </a:lnTo>
                  <a:lnTo>
                    <a:pt x="173" y="315"/>
                  </a:lnTo>
                  <a:lnTo>
                    <a:pt x="173" y="225"/>
                  </a:lnTo>
                  <a:lnTo>
                    <a:pt x="208" y="225"/>
                  </a:lnTo>
                  <a:lnTo>
                    <a:pt x="163" y="60"/>
                  </a:lnTo>
                  <a:lnTo>
                    <a:pt x="175" y="60"/>
                  </a:lnTo>
                  <a:lnTo>
                    <a:pt x="199" y="14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4" name="任意多边形: 形状 1713"/>
            <p:cNvSpPr/>
            <p:nvPr>
              <p:custDataLst>
                <p:tags r:id="rId306"/>
              </p:custDataLst>
            </p:nvPr>
          </p:nvSpPr>
          <p:spPr bwMode="auto">
            <a:xfrm flipH="1">
              <a:off x="1432239" y="1690564"/>
              <a:ext cx="330064" cy="288845"/>
            </a:xfrm>
            <a:custGeom>
              <a:avLst/>
              <a:gdLst>
                <a:gd name="T0" fmla="*/ 91 w 153"/>
                <a:gd name="T1" fmla="*/ 71 h 142"/>
                <a:gd name="T2" fmla="*/ 117 w 153"/>
                <a:gd name="T3" fmla="*/ 50 h 142"/>
                <a:gd name="T4" fmla="*/ 123 w 153"/>
                <a:gd name="T5" fmla="*/ 50 h 142"/>
                <a:gd name="T6" fmla="*/ 140 w 153"/>
                <a:gd name="T7" fmla="*/ 63 h 142"/>
                <a:gd name="T8" fmla="*/ 151 w 153"/>
                <a:gd name="T9" fmla="*/ 58 h 142"/>
                <a:gd name="T10" fmla="*/ 150 w 153"/>
                <a:gd name="T11" fmla="*/ 35 h 142"/>
                <a:gd name="T12" fmla="*/ 103 w 153"/>
                <a:gd name="T13" fmla="*/ 5 h 142"/>
                <a:gd name="T14" fmla="*/ 73 w 153"/>
                <a:gd name="T15" fmla="*/ 32 h 142"/>
                <a:gd name="T16" fmla="*/ 35 w 153"/>
                <a:gd name="T17" fmla="*/ 20 h 142"/>
                <a:gd name="T18" fmla="*/ 4 w 153"/>
                <a:gd name="T19" fmla="*/ 67 h 142"/>
                <a:gd name="T20" fmla="*/ 97 w 153"/>
                <a:gd name="T21" fmla="*/ 142 h 142"/>
                <a:gd name="T22" fmla="*/ 113 w 153"/>
                <a:gd name="T23" fmla="*/ 128 h 142"/>
                <a:gd name="T24" fmla="*/ 91 w 153"/>
                <a:gd name="T25" fmla="*/ 7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42">
                  <a:moveTo>
                    <a:pt x="91" y="71"/>
                  </a:moveTo>
                  <a:cubicBezTo>
                    <a:pt x="93" y="58"/>
                    <a:pt x="104" y="50"/>
                    <a:pt x="117" y="50"/>
                  </a:cubicBezTo>
                  <a:cubicBezTo>
                    <a:pt x="119" y="50"/>
                    <a:pt x="121" y="50"/>
                    <a:pt x="123" y="50"/>
                  </a:cubicBezTo>
                  <a:cubicBezTo>
                    <a:pt x="130" y="52"/>
                    <a:pt x="136" y="57"/>
                    <a:pt x="140" y="63"/>
                  </a:cubicBezTo>
                  <a:cubicBezTo>
                    <a:pt x="143" y="60"/>
                    <a:pt x="147" y="59"/>
                    <a:pt x="151" y="58"/>
                  </a:cubicBezTo>
                  <a:cubicBezTo>
                    <a:pt x="153" y="44"/>
                    <a:pt x="150" y="35"/>
                    <a:pt x="150" y="35"/>
                  </a:cubicBezTo>
                  <a:cubicBezTo>
                    <a:pt x="145" y="13"/>
                    <a:pt x="124" y="0"/>
                    <a:pt x="103" y="5"/>
                  </a:cubicBezTo>
                  <a:cubicBezTo>
                    <a:pt x="88" y="8"/>
                    <a:pt x="77" y="18"/>
                    <a:pt x="73" y="32"/>
                  </a:cubicBezTo>
                  <a:cubicBezTo>
                    <a:pt x="64" y="21"/>
                    <a:pt x="49" y="16"/>
                    <a:pt x="35" y="20"/>
                  </a:cubicBezTo>
                  <a:cubicBezTo>
                    <a:pt x="13" y="24"/>
                    <a:pt x="0" y="46"/>
                    <a:pt x="4" y="67"/>
                  </a:cubicBezTo>
                  <a:cubicBezTo>
                    <a:pt x="4" y="67"/>
                    <a:pt x="13" y="120"/>
                    <a:pt x="97" y="142"/>
                  </a:cubicBezTo>
                  <a:cubicBezTo>
                    <a:pt x="103" y="138"/>
                    <a:pt x="109" y="133"/>
                    <a:pt x="113" y="128"/>
                  </a:cubicBezTo>
                  <a:cubicBezTo>
                    <a:pt x="84" y="99"/>
                    <a:pt x="90" y="73"/>
                    <a:pt x="91" y="7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5" name="任意多边形: 形状 1714"/>
            <p:cNvSpPr/>
            <p:nvPr>
              <p:custDataLst>
                <p:tags r:id="rId307"/>
              </p:custDataLst>
            </p:nvPr>
          </p:nvSpPr>
          <p:spPr bwMode="auto">
            <a:xfrm flipH="1">
              <a:off x="1376620" y="1800600"/>
              <a:ext cx="196032" cy="156458"/>
            </a:xfrm>
            <a:custGeom>
              <a:avLst/>
              <a:gdLst>
                <a:gd name="T0" fmla="*/ 71 w 91"/>
                <a:gd name="T1" fmla="*/ 9 h 77"/>
                <a:gd name="T2" fmla="*/ 66 w 91"/>
                <a:gd name="T3" fmla="*/ 9 h 77"/>
                <a:gd name="T4" fmla="*/ 62 w 91"/>
                <a:gd name="T5" fmla="*/ 9 h 77"/>
                <a:gd name="T6" fmla="*/ 50 w 91"/>
                <a:gd name="T7" fmla="*/ 16 h 77"/>
                <a:gd name="T8" fmla="*/ 34 w 91"/>
                <a:gd name="T9" fmla="*/ 1 h 77"/>
                <a:gd name="T10" fmla="*/ 29 w 91"/>
                <a:gd name="T11" fmla="*/ 0 h 77"/>
                <a:gd name="T12" fmla="*/ 7 w 91"/>
                <a:gd name="T13" fmla="*/ 18 h 77"/>
                <a:gd name="T14" fmla="*/ 29 w 91"/>
                <a:gd name="T15" fmla="*/ 71 h 77"/>
                <a:gd name="T16" fmla="*/ 36 w 91"/>
                <a:gd name="T17" fmla="*/ 77 h 77"/>
                <a:gd name="T18" fmla="*/ 88 w 91"/>
                <a:gd name="T19" fmla="*/ 36 h 77"/>
                <a:gd name="T20" fmla="*/ 71 w 91"/>
                <a:gd name="T21" fmla="*/ 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77">
                  <a:moveTo>
                    <a:pt x="71" y="9"/>
                  </a:moveTo>
                  <a:cubicBezTo>
                    <a:pt x="69" y="9"/>
                    <a:pt x="68" y="9"/>
                    <a:pt x="66" y="9"/>
                  </a:cubicBezTo>
                  <a:cubicBezTo>
                    <a:pt x="65" y="9"/>
                    <a:pt x="63" y="9"/>
                    <a:pt x="62" y="9"/>
                  </a:cubicBezTo>
                  <a:cubicBezTo>
                    <a:pt x="57" y="10"/>
                    <a:pt x="53" y="13"/>
                    <a:pt x="50" y="16"/>
                  </a:cubicBezTo>
                  <a:cubicBezTo>
                    <a:pt x="48" y="9"/>
                    <a:pt x="42" y="3"/>
                    <a:pt x="34" y="1"/>
                  </a:cubicBezTo>
                  <a:cubicBezTo>
                    <a:pt x="32" y="0"/>
                    <a:pt x="30" y="0"/>
                    <a:pt x="29" y="0"/>
                  </a:cubicBezTo>
                  <a:cubicBezTo>
                    <a:pt x="19" y="0"/>
                    <a:pt x="9" y="7"/>
                    <a:pt x="7" y="18"/>
                  </a:cubicBezTo>
                  <a:cubicBezTo>
                    <a:pt x="7" y="18"/>
                    <a:pt x="0" y="42"/>
                    <a:pt x="29" y="71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83" y="65"/>
                    <a:pt x="88" y="36"/>
                    <a:pt x="88" y="36"/>
                  </a:cubicBezTo>
                  <a:cubicBezTo>
                    <a:pt x="91" y="24"/>
                    <a:pt x="83" y="12"/>
                    <a:pt x="71" y="9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6" name="矩形 1715"/>
            <p:cNvSpPr/>
            <p:nvPr>
              <p:custDataLst>
                <p:tags r:id="rId308"/>
              </p:custDataLst>
            </p:nvPr>
          </p:nvSpPr>
          <p:spPr bwMode="auto">
            <a:xfrm flipH="1">
              <a:off x="3020557" y="4596208"/>
              <a:ext cx="25530" cy="6275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7" name="任意多边形: 形状 1716"/>
            <p:cNvSpPr/>
            <p:nvPr>
              <p:custDataLst>
                <p:tags r:id="rId309"/>
              </p:custDataLst>
            </p:nvPr>
          </p:nvSpPr>
          <p:spPr bwMode="auto">
            <a:xfrm flipH="1">
              <a:off x="2823614" y="4596208"/>
              <a:ext cx="110325" cy="62755"/>
            </a:xfrm>
            <a:custGeom>
              <a:avLst/>
              <a:gdLst>
                <a:gd name="T0" fmla="*/ 121 w 121"/>
                <a:gd name="T1" fmla="*/ 73 h 73"/>
                <a:gd name="T2" fmla="*/ 121 w 121"/>
                <a:gd name="T3" fmla="*/ 0 h 73"/>
                <a:gd name="T4" fmla="*/ 73 w 121"/>
                <a:gd name="T5" fmla="*/ 0 h 73"/>
                <a:gd name="T6" fmla="*/ 0 w 121"/>
                <a:gd name="T7" fmla="*/ 73 h 73"/>
                <a:gd name="T8" fmla="*/ 121 w 121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73">
                  <a:moveTo>
                    <a:pt x="121" y="73"/>
                  </a:moveTo>
                  <a:lnTo>
                    <a:pt x="121" y="0"/>
                  </a:lnTo>
                  <a:lnTo>
                    <a:pt x="73" y="0"/>
                  </a:lnTo>
                  <a:lnTo>
                    <a:pt x="0" y="73"/>
                  </a:lnTo>
                  <a:lnTo>
                    <a:pt x="121" y="7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8" name="任意多边形: 形状 1717"/>
            <p:cNvSpPr/>
            <p:nvPr>
              <p:custDataLst>
                <p:tags r:id="rId310"/>
              </p:custDataLst>
            </p:nvPr>
          </p:nvSpPr>
          <p:spPr bwMode="auto">
            <a:xfrm flipH="1">
              <a:off x="2935762" y="4596208"/>
              <a:ext cx="73854" cy="62755"/>
            </a:xfrm>
            <a:custGeom>
              <a:avLst/>
              <a:gdLst>
                <a:gd name="T0" fmla="*/ 81 w 81"/>
                <a:gd name="T1" fmla="*/ 0 h 73"/>
                <a:gd name="T2" fmla="*/ 0 w 81"/>
                <a:gd name="T3" fmla="*/ 0 h 73"/>
                <a:gd name="T4" fmla="*/ 0 w 81"/>
                <a:gd name="T5" fmla="*/ 73 h 73"/>
                <a:gd name="T6" fmla="*/ 7 w 81"/>
                <a:gd name="T7" fmla="*/ 73 h 73"/>
                <a:gd name="T8" fmla="*/ 81 w 81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73">
                  <a:moveTo>
                    <a:pt x="81" y="0"/>
                  </a:moveTo>
                  <a:lnTo>
                    <a:pt x="0" y="0"/>
                  </a:lnTo>
                  <a:lnTo>
                    <a:pt x="0" y="73"/>
                  </a:lnTo>
                  <a:lnTo>
                    <a:pt x="7" y="7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19" name="任意多边形: 形状 1718"/>
            <p:cNvSpPr/>
            <p:nvPr>
              <p:custDataLst>
                <p:tags r:id="rId311"/>
              </p:custDataLst>
            </p:nvPr>
          </p:nvSpPr>
          <p:spPr bwMode="auto">
            <a:xfrm flipH="1">
              <a:off x="2758877" y="4460382"/>
              <a:ext cx="351947" cy="332688"/>
            </a:xfrm>
            <a:custGeom>
              <a:avLst/>
              <a:gdLst>
                <a:gd name="T0" fmla="*/ 94 w 163"/>
                <a:gd name="T1" fmla="*/ 163 h 164"/>
                <a:gd name="T2" fmla="*/ 163 w 163"/>
                <a:gd name="T3" fmla="*/ 82 h 164"/>
                <a:gd name="T4" fmla="*/ 94 w 163"/>
                <a:gd name="T5" fmla="*/ 1 h 164"/>
                <a:gd name="T6" fmla="*/ 94 w 163"/>
                <a:gd name="T7" fmla="*/ 15 h 164"/>
                <a:gd name="T8" fmla="*/ 125 w 163"/>
                <a:gd name="T9" fmla="*/ 29 h 164"/>
                <a:gd name="T10" fmla="*/ 94 w 163"/>
                <a:gd name="T11" fmla="*/ 60 h 164"/>
                <a:gd name="T12" fmla="*/ 94 w 163"/>
                <a:gd name="T13" fmla="*/ 79 h 164"/>
                <a:gd name="T14" fmla="*/ 107 w 163"/>
                <a:gd name="T15" fmla="*/ 67 h 164"/>
                <a:gd name="T16" fmla="*/ 109 w 163"/>
                <a:gd name="T17" fmla="*/ 64 h 164"/>
                <a:gd name="T18" fmla="*/ 111 w 163"/>
                <a:gd name="T19" fmla="*/ 62 h 164"/>
                <a:gd name="T20" fmla="*/ 134 w 163"/>
                <a:gd name="T21" fmla="*/ 39 h 164"/>
                <a:gd name="T22" fmla="*/ 150 w 163"/>
                <a:gd name="T23" fmla="*/ 82 h 164"/>
                <a:gd name="T24" fmla="*/ 150 w 163"/>
                <a:gd name="T25" fmla="*/ 82 h 164"/>
                <a:gd name="T26" fmla="*/ 94 w 163"/>
                <a:gd name="T27" fmla="*/ 149 h 164"/>
                <a:gd name="T28" fmla="*/ 94 w 163"/>
                <a:gd name="T29" fmla="*/ 163 h 164"/>
                <a:gd name="T30" fmla="*/ 81 w 163"/>
                <a:gd name="T31" fmla="*/ 164 h 164"/>
                <a:gd name="T32" fmla="*/ 94 w 163"/>
                <a:gd name="T33" fmla="*/ 163 h 164"/>
                <a:gd name="T34" fmla="*/ 94 w 163"/>
                <a:gd name="T35" fmla="*/ 149 h 164"/>
                <a:gd name="T36" fmla="*/ 81 w 163"/>
                <a:gd name="T37" fmla="*/ 151 h 164"/>
                <a:gd name="T38" fmla="*/ 38 w 163"/>
                <a:gd name="T39" fmla="*/ 135 h 164"/>
                <a:gd name="T40" fmla="*/ 71 w 163"/>
                <a:gd name="T41" fmla="*/ 102 h 164"/>
                <a:gd name="T42" fmla="*/ 73 w 163"/>
                <a:gd name="T43" fmla="*/ 100 h 164"/>
                <a:gd name="T44" fmla="*/ 76 w 163"/>
                <a:gd name="T45" fmla="*/ 98 h 164"/>
                <a:gd name="T46" fmla="*/ 94 w 163"/>
                <a:gd name="T47" fmla="*/ 79 h 164"/>
                <a:gd name="T48" fmla="*/ 94 w 163"/>
                <a:gd name="T49" fmla="*/ 60 h 164"/>
                <a:gd name="T50" fmla="*/ 92 w 163"/>
                <a:gd name="T51" fmla="*/ 62 h 164"/>
                <a:gd name="T52" fmla="*/ 90 w 163"/>
                <a:gd name="T53" fmla="*/ 64 h 164"/>
                <a:gd name="T54" fmla="*/ 87 w 163"/>
                <a:gd name="T55" fmla="*/ 67 h 164"/>
                <a:gd name="T56" fmla="*/ 56 w 163"/>
                <a:gd name="T57" fmla="*/ 98 h 164"/>
                <a:gd name="T58" fmla="*/ 54 w 163"/>
                <a:gd name="T59" fmla="*/ 100 h 164"/>
                <a:gd name="T60" fmla="*/ 52 w 163"/>
                <a:gd name="T61" fmla="*/ 102 h 164"/>
                <a:gd name="T62" fmla="*/ 29 w 163"/>
                <a:gd name="T63" fmla="*/ 125 h 164"/>
                <a:gd name="T64" fmla="*/ 13 w 163"/>
                <a:gd name="T65" fmla="*/ 82 h 164"/>
                <a:gd name="T66" fmla="*/ 81 w 163"/>
                <a:gd name="T67" fmla="*/ 14 h 164"/>
                <a:gd name="T68" fmla="*/ 81 w 163"/>
                <a:gd name="T69" fmla="*/ 14 h 164"/>
                <a:gd name="T70" fmla="*/ 94 w 163"/>
                <a:gd name="T71" fmla="*/ 15 h 164"/>
                <a:gd name="T72" fmla="*/ 94 w 163"/>
                <a:gd name="T73" fmla="*/ 1 h 164"/>
                <a:gd name="T74" fmla="*/ 81 w 163"/>
                <a:gd name="T75" fmla="*/ 0 h 164"/>
                <a:gd name="T76" fmla="*/ 0 w 163"/>
                <a:gd name="T77" fmla="*/ 82 h 164"/>
                <a:gd name="T78" fmla="*/ 81 w 163"/>
                <a:gd name="T7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3" h="164">
                  <a:moveTo>
                    <a:pt x="94" y="163"/>
                  </a:moveTo>
                  <a:cubicBezTo>
                    <a:pt x="133" y="157"/>
                    <a:pt x="163" y="123"/>
                    <a:pt x="163" y="82"/>
                  </a:cubicBezTo>
                  <a:cubicBezTo>
                    <a:pt x="163" y="41"/>
                    <a:pt x="133" y="7"/>
                    <a:pt x="94" y="1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106" y="17"/>
                    <a:pt x="116" y="22"/>
                    <a:pt x="125" y="29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34" y="39"/>
                    <a:pt x="134" y="39"/>
                    <a:pt x="134" y="39"/>
                  </a:cubicBezTo>
                  <a:cubicBezTo>
                    <a:pt x="144" y="51"/>
                    <a:pt x="150" y="66"/>
                    <a:pt x="150" y="82"/>
                  </a:cubicBezTo>
                  <a:cubicBezTo>
                    <a:pt x="150" y="82"/>
                    <a:pt x="150" y="82"/>
                    <a:pt x="150" y="82"/>
                  </a:cubicBezTo>
                  <a:cubicBezTo>
                    <a:pt x="150" y="116"/>
                    <a:pt x="126" y="143"/>
                    <a:pt x="94" y="149"/>
                  </a:cubicBezTo>
                  <a:lnTo>
                    <a:pt x="94" y="163"/>
                  </a:lnTo>
                  <a:close/>
                  <a:moveTo>
                    <a:pt x="81" y="164"/>
                  </a:moveTo>
                  <a:cubicBezTo>
                    <a:pt x="86" y="164"/>
                    <a:pt x="90" y="164"/>
                    <a:pt x="94" y="163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90" y="150"/>
                    <a:pt x="86" y="151"/>
                    <a:pt x="81" y="151"/>
                  </a:cubicBezTo>
                  <a:cubicBezTo>
                    <a:pt x="65" y="151"/>
                    <a:pt x="50" y="145"/>
                    <a:pt x="38" y="135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19" y="114"/>
                    <a:pt x="13" y="99"/>
                    <a:pt x="13" y="82"/>
                  </a:cubicBezTo>
                  <a:cubicBezTo>
                    <a:pt x="13" y="45"/>
                    <a:pt x="44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6" y="14"/>
                    <a:pt x="90" y="14"/>
                    <a:pt x="94" y="15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0" y="1"/>
                    <a:pt x="86" y="0"/>
                    <a:pt x="81" y="0"/>
                  </a:cubicBezTo>
                  <a:cubicBezTo>
                    <a:pt x="36" y="0"/>
                    <a:pt x="0" y="37"/>
                    <a:pt x="0" y="82"/>
                  </a:cubicBezTo>
                  <a:cubicBezTo>
                    <a:pt x="0" y="128"/>
                    <a:pt x="36" y="164"/>
                    <a:pt x="81" y="164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0" name="任意多边形: 形状 1719"/>
            <p:cNvSpPr/>
            <p:nvPr>
              <p:custDataLst>
                <p:tags r:id="rId312"/>
              </p:custDataLst>
            </p:nvPr>
          </p:nvSpPr>
          <p:spPr bwMode="auto">
            <a:xfrm flipH="1">
              <a:off x="1762303" y="5984556"/>
              <a:ext cx="73854" cy="65334"/>
            </a:xfrm>
            <a:custGeom>
              <a:avLst/>
              <a:gdLst>
                <a:gd name="T0" fmla="*/ 24 w 34"/>
                <a:gd name="T1" fmla="*/ 0 h 32"/>
                <a:gd name="T2" fmla="*/ 0 w 34"/>
                <a:gd name="T3" fmla="*/ 32 h 32"/>
                <a:gd name="T4" fmla="*/ 16 w 34"/>
                <a:gd name="T5" fmla="*/ 32 h 32"/>
                <a:gd name="T6" fmla="*/ 34 w 34"/>
                <a:gd name="T7" fmla="*/ 8 h 32"/>
                <a:gd name="T8" fmla="*/ 24 w 3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24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0" y="7"/>
                    <a:pt x="26" y="4"/>
                    <a:pt x="24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1" name="任意多边形: 形状 1720"/>
            <p:cNvSpPr/>
            <p:nvPr>
              <p:custDataLst>
                <p:tags r:id="rId313"/>
              </p:custDataLst>
            </p:nvPr>
          </p:nvSpPr>
          <p:spPr bwMode="auto">
            <a:xfrm flipH="1">
              <a:off x="1738597" y="5956187"/>
              <a:ext cx="39206" cy="36966"/>
            </a:xfrm>
            <a:custGeom>
              <a:avLst/>
              <a:gdLst>
                <a:gd name="T0" fmla="*/ 9 w 18"/>
                <a:gd name="T1" fmla="*/ 18 h 18"/>
                <a:gd name="T2" fmla="*/ 10 w 18"/>
                <a:gd name="T3" fmla="*/ 18 h 18"/>
                <a:gd name="T4" fmla="*/ 11 w 18"/>
                <a:gd name="T5" fmla="*/ 18 h 18"/>
                <a:gd name="T6" fmla="*/ 18 w 18"/>
                <a:gd name="T7" fmla="*/ 9 h 18"/>
                <a:gd name="T8" fmla="*/ 18 w 18"/>
                <a:gd name="T9" fmla="*/ 9 h 18"/>
                <a:gd name="T10" fmla="*/ 18 w 18"/>
                <a:gd name="T11" fmla="*/ 7 h 18"/>
                <a:gd name="T12" fmla="*/ 9 w 18"/>
                <a:gd name="T13" fmla="*/ 0 h 18"/>
                <a:gd name="T14" fmla="*/ 7 w 18"/>
                <a:gd name="T15" fmla="*/ 0 h 18"/>
                <a:gd name="T16" fmla="*/ 0 w 18"/>
                <a:gd name="T17" fmla="*/ 10 h 18"/>
                <a:gd name="T18" fmla="*/ 0 w 18"/>
                <a:gd name="T19" fmla="*/ 11 h 18"/>
                <a:gd name="T20" fmla="*/ 9 w 18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5" y="17"/>
                    <a:pt x="18" y="13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7"/>
                  </a:cubicBezTo>
                  <a:cubicBezTo>
                    <a:pt x="17" y="3"/>
                    <a:pt x="13" y="0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3" y="1"/>
                    <a:pt x="0" y="6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5"/>
                    <a:pt x="5" y="18"/>
                    <a:pt x="9" y="1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2" name="任意多边形: 形状 1721"/>
            <p:cNvSpPr/>
            <p:nvPr>
              <p:custDataLst>
                <p:tags r:id="rId314"/>
              </p:custDataLst>
            </p:nvPr>
          </p:nvSpPr>
          <p:spPr bwMode="auto">
            <a:xfrm flipH="1">
              <a:off x="1632831" y="5984556"/>
              <a:ext cx="73854" cy="65334"/>
            </a:xfrm>
            <a:custGeom>
              <a:avLst/>
              <a:gdLst>
                <a:gd name="T0" fmla="*/ 18 w 34"/>
                <a:gd name="T1" fmla="*/ 32 h 32"/>
                <a:gd name="T2" fmla="*/ 34 w 34"/>
                <a:gd name="T3" fmla="*/ 32 h 32"/>
                <a:gd name="T4" fmla="*/ 10 w 34"/>
                <a:gd name="T5" fmla="*/ 0 h 32"/>
                <a:gd name="T6" fmla="*/ 0 w 34"/>
                <a:gd name="T7" fmla="*/ 8 h 32"/>
                <a:gd name="T8" fmla="*/ 18 w 34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18" y="32"/>
                  </a:moveTo>
                  <a:cubicBezTo>
                    <a:pt x="34" y="32"/>
                    <a:pt x="34" y="32"/>
                    <a:pt x="34" y="3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4"/>
                    <a:pt x="4" y="7"/>
                    <a:pt x="0" y="8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3" name="任意多边形: 形状 1722"/>
            <p:cNvSpPr/>
            <p:nvPr>
              <p:custDataLst>
                <p:tags r:id="rId315"/>
              </p:custDataLst>
            </p:nvPr>
          </p:nvSpPr>
          <p:spPr bwMode="auto">
            <a:xfrm flipH="1">
              <a:off x="1691184" y="5956187"/>
              <a:ext cx="39206" cy="36966"/>
            </a:xfrm>
            <a:custGeom>
              <a:avLst/>
              <a:gdLst>
                <a:gd name="T0" fmla="*/ 11 w 18"/>
                <a:gd name="T1" fmla="*/ 0 h 18"/>
                <a:gd name="T2" fmla="*/ 9 w 18"/>
                <a:gd name="T3" fmla="*/ 0 h 18"/>
                <a:gd name="T4" fmla="*/ 0 w 18"/>
                <a:gd name="T5" fmla="*/ 7 h 18"/>
                <a:gd name="T6" fmla="*/ 0 w 18"/>
                <a:gd name="T7" fmla="*/ 9 h 18"/>
                <a:gd name="T8" fmla="*/ 0 w 18"/>
                <a:gd name="T9" fmla="*/ 9 h 18"/>
                <a:gd name="T10" fmla="*/ 7 w 18"/>
                <a:gd name="T11" fmla="*/ 18 h 18"/>
                <a:gd name="T12" fmla="*/ 8 w 18"/>
                <a:gd name="T13" fmla="*/ 18 h 18"/>
                <a:gd name="T14" fmla="*/ 9 w 18"/>
                <a:gd name="T15" fmla="*/ 18 h 18"/>
                <a:gd name="T16" fmla="*/ 17 w 18"/>
                <a:gd name="T17" fmla="*/ 11 h 18"/>
                <a:gd name="T18" fmla="*/ 18 w 18"/>
                <a:gd name="T19" fmla="*/ 10 h 18"/>
                <a:gd name="T20" fmla="*/ 11 w 18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cubicBezTo>
                    <a:pt x="10" y="0"/>
                    <a:pt x="10" y="0"/>
                    <a:pt x="9" y="0"/>
                  </a:cubicBezTo>
                  <a:cubicBezTo>
                    <a:pt x="5" y="0"/>
                    <a:pt x="1" y="3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3" y="17"/>
                    <a:pt x="7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8" y="18"/>
                    <a:pt x="9" y="18"/>
                    <a:pt x="9" y="18"/>
                  </a:cubicBezTo>
                  <a:cubicBezTo>
                    <a:pt x="13" y="18"/>
                    <a:pt x="17" y="15"/>
                    <a:pt x="17" y="11"/>
                  </a:cubicBezTo>
                  <a:cubicBezTo>
                    <a:pt x="18" y="11"/>
                    <a:pt x="18" y="11"/>
                    <a:pt x="18" y="10"/>
                  </a:cubicBezTo>
                  <a:cubicBezTo>
                    <a:pt x="18" y="6"/>
                    <a:pt x="15" y="1"/>
                    <a:pt x="11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4" name="任意多边形: 形状 1723"/>
            <p:cNvSpPr/>
            <p:nvPr>
              <p:custDataLst>
                <p:tags r:id="rId316"/>
              </p:custDataLst>
            </p:nvPr>
          </p:nvSpPr>
          <p:spPr bwMode="auto">
            <a:xfrm flipH="1">
              <a:off x="1600918" y="6058487"/>
              <a:ext cx="267151" cy="125511"/>
            </a:xfrm>
            <a:custGeom>
              <a:avLst/>
              <a:gdLst>
                <a:gd name="T0" fmla="*/ 0 w 293"/>
                <a:gd name="T1" fmla="*/ 0 h 146"/>
                <a:gd name="T2" fmla="*/ 38 w 293"/>
                <a:gd name="T3" fmla="*/ 146 h 146"/>
                <a:gd name="T4" fmla="*/ 255 w 293"/>
                <a:gd name="T5" fmla="*/ 146 h 146"/>
                <a:gd name="T6" fmla="*/ 293 w 293"/>
                <a:gd name="T7" fmla="*/ 0 h 146"/>
                <a:gd name="T8" fmla="*/ 262 w 293"/>
                <a:gd name="T9" fmla="*/ 0 h 146"/>
                <a:gd name="T10" fmla="*/ 227 w 293"/>
                <a:gd name="T11" fmla="*/ 0 h 146"/>
                <a:gd name="T12" fmla="*/ 66 w 293"/>
                <a:gd name="T13" fmla="*/ 0 h 146"/>
                <a:gd name="T14" fmla="*/ 31 w 293"/>
                <a:gd name="T15" fmla="*/ 0 h 146"/>
                <a:gd name="T16" fmla="*/ 0 w 293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" h="146">
                  <a:moveTo>
                    <a:pt x="0" y="0"/>
                  </a:moveTo>
                  <a:lnTo>
                    <a:pt x="38" y="146"/>
                  </a:lnTo>
                  <a:lnTo>
                    <a:pt x="255" y="146"/>
                  </a:lnTo>
                  <a:lnTo>
                    <a:pt x="293" y="0"/>
                  </a:lnTo>
                  <a:lnTo>
                    <a:pt x="262" y="0"/>
                  </a:lnTo>
                  <a:lnTo>
                    <a:pt x="227" y="0"/>
                  </a:lnTo>
                  <a:lnTo>
                    <a:pt x="66" y="0"/>
                  </a:lnTo>
                  <a:lnTo>
                    <a:pt x="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5" name="椭圆 1724"/>
            <p:cNvSpPr/>
            <p:nvPr>
              <p:custDataLst>
                <p:tags r:id="rId317"/>
              </p:custDataLst>
            </p:nvPr>
          </p:nvSpPr>
          <p:spPr bwMode="auto">
            <a:xfrm flipH="1">
              <a:off x="4318930" y="3394406"/>
              <a:ext cx="71119" cy="6705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6" name="任意多边形: 形状 1725"/>
            <p:cNvSpPr/>
            <p:nvPr>
              <p:custDataLst>
                <p:tags r:id="rId318"/>
              </p:custDataLst>
            </p:nvPr>
          </p:nvSpPr>
          <p:spPr bwMode="auto">
            <a:xfrm flipH="1">
              <a:off x="4508580" y="3592127"/>
              <a:ext cx="155002" cy="146142"/>
            </a:xfrm>
            <a:custGeom>
              <a:avLst/>
              <a:gdLst>
                <a:gd name="T0" fmla="*/ 36 w 72"/>
                <a:gd name="T1" fmla="*/ 72 h 72"/>
                <a:gd name="T2" fmla="*/ 72 w 72"/>
                <a:gd name="T3" fmla="*/ 36 h 72"/>
                <a:gd name="T4" fmla="*/ 36 w 72"/>
                <a:gd name="T5" fmla="*/ 0 h 72"/>
                <a:gd name="T6" fmla="*/ 36 w 72"/>
                <a:gd name="T7" fmla="*/ 16 h 72"/>
                <a:gd name="T8" fmla="*/ 56 w 72"/>
                <a:gd name="T9" fmla="*/ 36 h 72"/>
                <a:gd name="T10" fmla="*/ 36 w 72"/>
                <a:gd name="T11" fmla="*/ 55 h 72"/>
                <a:gd name="T12" fmla="*/ 36 w 72"/>
                <a:gd name="T13" fmla="*/ 72 h 72"/>
                <a:gd name="T14" fmla="*/ 36 w 72"/>
                <a:gd name="T15" fmla="*/ 0 h 72"/>
                <a:gd name="T16" fmla="*/ 0 w 72"/>
                <a:gd name="T17" fmla="*/ 36 h 72"/>
                <a:gd name="T18" fmla="*/ 36 w 72"/>
                <a:gd name="T19" fmla="*/ 72 h 72"/>
                <a:gd name="T20" fmla="*/ 36 w 72"/>
                <a:gd name="T21" fmla="*/ 72 h 72"/>
                <a:gd name="T22" fmla="*/ 36 w 72"/>
                <a:gd name="T23" fmla="*/ 55 h 72"/>
                <a:gd name="T24" fmla="*/ 36 w 72"/>
                <a:gd name="T25" fmla="*/ 55 h 72"/>
                <a:gd name="T26" fmla="*/ 36 w 72"/>
                <a:gd name="T27" fmla="*/ 55 h 72"/>
                <a:gd name="T28" fmla="*/ 17 w 72"/>
                <a:gd name="T29" fmla="*/ 36 h 72"/>
                <a:gd name="T30" fmla="*/ 36 w 72"/>
                <a:gd name="T31" fmla="*/ 16 h 72"/>
                <a:gd name="T32" fmla="*/ 36 w 72"/>
                <a:gd name="T33" fmla="*/ 16 h 72"/>
                <a:gd name="T34" fmla="*/ 36 w 72"/>
                <a:gd name="T3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47" y="16"/>
                    <a:pt x="56" y="25"/>
                    <a:pt x="56" y="36"/>
                  </a:cubicBezTo>
                  <a:cubicBezTo>
                    <a:pt x="56" y="46"/>
                    <a:pt x="47" y="55"/>
                    <a:pt x="36" y="55"/>
                  </a:cubicBezTo>
                  <a:lnTo>
                    <a:pt x="36" y="72"/>
                  </a:ln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25" y="55"/>
                    <a:pt x="17" y="46"/>
                    <a:pt x="17" y="36"/>
                  </a:cubicBezTo>
                  <a:cubicBezTo>
                    <a:pt x="17" y="25"/>
                    <a:pt x="25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0"/>
                    <a:pt x="36" y="0"/>
                    <a:pt x="3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7" name="任意多边形: 形状 1726"/>
            <p:cNvSpPr/>
            <p:nvPr>
              <p:custDataLst>
                <p:tags r:id="rId319"/>
              </p:custDataLst>
            </p:nvPr>
          </p:nvSpPr>
          <p:spPr bwMode="auto">
            <a:xfrm flipH="1">
              <a:off x="4493081" y="3556881"/>
              <a:ext cx="183266" cy="63615"/>
            </a:xfrm>
            <a:custGeom>
              <a:avLst/>
              <a:gdLst>
                <a:gd name="T0" fmla="*/ 6 w 85"/>
                <a:gd name="T1" fmla="*/ 30 h 31"/>
                <a:gd name="T2" fmla="*/ 11 w 85"/>
                <a:gd name="T3" fmla="*/ 28 h 31"/>
                <a:gd name="T4" fmla="*/ 42 w 85"/>
                <a:gd name="T5" fmla="*/ 11 h 31"/>
                <a:gd name="T6" fmla="*/ 74 w 85"/>
                <a:gd name="T7" fmla="*/ 28 h 31"/>
                <a:gd name="T8" fmla="*/ 82 w 85"/>
                <a:gd name="T9" fmla="*/ 29 h 31"/>
                <a:gd name="T10" fmla="*/ 83 w 85"/>
                <a:gd name="T11" fmla="*/ 22 h 31"/>
                <a:gd name="T12" fmla="*/ 42 w 85"/>
                <a:gd name="T13" fmla="*/ 0 h 31"/>
                <a:gd name="T14" fmla="*/ 1 w 85"/>
                <a:gd name="T15" fmla="*/ 22 h 31"/>
                <a:gd name="T16" fmla="*/ 3 w 85"/>
                <a:gd name="T17" fmla="*/ 29 h 31"/>
                <a:gd name="T18" fmla="*/ 6 w 85"/>
                <a:gd name="T1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31">
                  <a:moveTo>
                    <a:pt x="6" y="30"/>
                  </a:moveTo>
                  <a:cubicBezTo>
                    <a:pt x="8" y="30"/>
                    <a:pt x="9" y="30"/>
                    <a:pt x="11" y="28"/>
                  </a:cubicBezTo>
                  <a:cubicBezTo>
                    <a:pt x="18" y="17"/>
                    <a:pt x="29" y="11"/>
                    <a:pt x="42" y="11"/>
                  </a:cubicBezTo>
                  <a:cubicBezTo>
                    <a:pt x="55" y="11"/>
                    <a:pt x="67" y="17"/>
                    <a:pt x="74" y="28"/>
                  </a:cubicBezTo>
                  <a:cubicBezTo>
                    <a:pt x="76" y="30"/>
                    <a:pt x="79" y="31"/>
                    <a:pt x="82" y="29"/>
                  </a:cubicBezTo>
                  <a:cubicBezTo>
                    <a:pt x="84" y="28"/>
                    <a:pt x="85" y="24"/>
                    <a:pt x="83" y="22"/>
                  </a:cubicBezTo>
                  <a:cubicBezTo>
                    <a:pt x="74" y="8"/>
                    <a:pt x="59" y="0"/>
                    <a:pt x="42" y="0"/>
                  </a:cubicBezTo>
                  <a:cubicBezTo>
                    <a:pt x="26" y="0"/>
                    <a:pt x="11" y="8"/>
                    <a:pt x="1" y="22"/>
                  </a:cubicBezTo>
                  <a:cubicBezTo>
                    <a:pt x="0" y="24"/>
                    <a:pt x="0" y="28"/>
                    <a:pt x="3" y="29"/>
                  </a:cubicBezTo>
                  <a:cubicBezTo>
                    <a:pt x="4" y="30"/>
                    <a:pt x="5" y="30"/>
                    <a:pt x="6" y="3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8" name="任意多边形: 形状 1727"/>
            <p:cNvSpPr/>
            <p:nvPr>
              <p:custDataLst>
                <p:tags r:id="rId320"/>
              </p:custDataLst>
            </p:nvPr>
          </p:nvSpPr>
          <p:spPr bwMode="auto">
            <a:xfrm flipH="1">
              <a:off x="4227753" y="3592127"/>
              <a:ext cx="155914" cy="146142"/>
            </a:xfrm>
            <a:custGeom>
              <a:avLst/>
              <a:gdLst>
                <a:gd name="T0" fmla="*/ 36 w 72"/>
                <a:gd name="T1" fmla="*/ 0 h 72"/>
                <a:gd name="T2" fmla="*/ 36 w 72"/>
                <a:gd name="T3" fmla="*/ 0 h 72"/>
                <a:gd name="T4" fmla="*/ 36 w 72"/>
                <a:gd name="T5" fmla="*/ 16 h 72"/>
                <a:gd name="T6" fmla="*/ 36 w 72"/>
                <a:gd name="T7" fmla="*/ 16 h 72"/>
                <a:gd name="T8" fmla="*/ 55 w 72"/>
                <a:gd name="T9" fmla="*/ 36 h 72"/>
                <a:gd name="T10" fmla="*/ 36 w 72"/>
                <a:gd name="T11" fmla="*/ 55 h 72"/>
                <a:gd name="T12" fmla="*/ 36 w 72"/>
                <a:gd name="T13" fmla="*/ 55 h 72"/>
                <a:gd name="T14" fmla="*/ 36 w 72"/>
                <a:gd name="T15" fmla="*/ 55 h 72"/>
                <a:gd name="T16" fmla="*/ 36 w 72"/>
                <a:gd name="T17" fmla="*/ 72 h 72"/>
                <a:gd name="T18" fmla="*/ 36 w 72"/>
                <a:gd name="T19" fmla="*/ 72 h 72"/>
                <a:gd name="T20" fmla="*/ 72 w 72"/>
                <a:gd name="T21" fmla="*/ 36 h 72"/>
                <a:gd name="T22" fmla="*/ 36 w 72"/>
                <a:gd name="T23" fmla="*/ 0 h 72"/>
                <a:gd name="T24" fmla="*/ 36 w 72"/>
                <a:gd name="T25" fmla="*/ 0 h 72"/>
                <a:gd name="T26" fmla="*/ 0 w 72"/>
                <a:gd name="T27" fmla="*/ 36 h 72"/>
                <a:gd name="T28" fmla="*/ 36 w 72"/>
                <a:gd name="T29" fmla="*/ 72 h 72"/>
                <a:gd name="T30" fmla="*/ 36 w 72"/>
                <a:gd name="T31" fmla="*/ 55 h 72"/>
                <a:gd name="T32" fmla="*/ 16 w 72"/>
                <a:gd name="T33" fmla="*/ 36 h 72"/>
                <a:gd name="T34" fmla="*/ 36 w 72"/>
                <a:gd name="T35" fmla="*/ 16 h 72"/>
                <a:gd name="T36" fmla="*/ 36 w 72"/>
                <a:gd name="T3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46" y="16"/>
                    <a:pt x="55" y="25"/>
                    <a:pt x="55" y="36"/>
                  </a:cubicBezTo>
                  <a:cubicBezTo>
                    <a:pt x="55" y="46"/>
                    <a:pt x="4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25" y="55"/>
                    <a:pt x="16" y="46"/>
                    <a:pt x="16" y="36"/>
                  </a:cubicBezTo>
                  <a:cubicBezTo>
                    <a:pt x="16" y="25"/>
                    <a:pt x="25" y="16"/>
                    <a:pt x="36" y="16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29" name="任意多边形: 形状 1728"/>
            <p:cNvSpPr/>
            <p:nvPr>
              <p:custDataLst>
                <p:tags r:id="rId321"/>
              </p:custDataLst>
            </p:nvPr>
          </p:nvSpPr>
          <p:spPr bwMode="auto">
            <a:xfrm flipH="1">
              <a:off x="4214988" y="3556881"/>
              <a:ext cx="183266" cy="63615"/>
            </a:xfrm>
            <a:custGeom>
              <a:avLst/>
              <a:gdLst>
                <a:gd name="T0" fmla="*/ 43 w 85"/>
                <a:gd name="T1" fmla="*/ 0 h 31"/>
                <a:gd name="T2" fmla="*/ 2 w 85"/>
                <a:gd name="T3" fmla="*/ 22 h 31"/>
                <a:gd name="T4" fmla="*/ 3 w 85"/>
                <a:gd name="T5" fmla="*/ 29 h 31"/>
                <a:gd name="T6" fmla="*/ 6 w 85"/>
                <a:gd name="T7" fmla="*/ 30 h 31"/>
                <a:gd name="T8" fmla="*/ 11 w 85"/>
                <a:gd name="T9" fmla="*/ 28 h 31"/>
                <a:gd name="T10" fmla="*/ 43 w 85"/>
                <a:gd name="T11" fmla="*/ 11 h 31"/>
                <a:gd name="T12" fmla="*/ 74 w 85"/>
                <a:gd name="T13" fmla="*/ 28 h 31"/>
                <a:gd name="T14" fmla="*/ 82 w 85"/>
                <a:gd name="T15" fmla="*/ 29 h 31"/>
                <a:gd name="T16" fmla="*/ 84 w 85"/>
                <a:gd name="T17" fmla="*/ 22 h 31"/>
                <a:gd name="T18" fmla="*/ 43 w 85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31">
                  <a:moveTo>
                    <a:pt x="43" y="0"/>
                  </a:moveTo>
                  <a:cubicBezTo>
                    <a:pt x="26" y="0"/>
                    <a:pt x="11" y="8"/>
                    <a:pt x="2" y="22"/>
                  </a:cubicBezTo>
                  <a:cubicBezTo>
                    <a:pt x="0" y="24"/>
                    <a:pt x="1" y="28"/>
                    <a:pt x="3" y="29"/>
                  </a:cubicBezTo>
                  <a:cubicBezTo>
                    <a:pt x="4" y="30"/>
                    <a:pt x="5" y="30"/>
                    <a:pt x="6" y="30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18" y="17"/>
                    <a:pt x="30" y="11"/>
                    <a:pt x="43" y="11"/>
                  </a:cubicBezTo>
                  <a:cubicBezTo>
                    <a:pt x="55" y="11"/>
                    <a:pt x="67" y="17"/>
                    <a:pt x="74" y="28"/>
                  </a:cubicBezTo>
                  <a:cubicBezTo>
                    <a:pt x="76" y="30"/>
                    <a:pt x="80" y="31"/>
                    <a:pt x="82" y="29"/>
                  </a:cubicBezTo>
                  <a:cubicBezTo>
                    <a:pt x="85" y="28"/>
                    <a:pt x="85" y="24"/>
                    <a:pt x="84" y="22"/>
                  </a:cubicBezTo>
                  <a:cubicBezTo>
                    <a:pt x="74" y="8"/>
                    <a:pt x="59" y="0"/>
                    <a:pt x="43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0" name="任意多边形: 形状 1729"/>
            <p:cNvSpPr/>
            <p:nvPr>
              <p:custDataLst>
                <p:tags r:id="rId322"/>
              </p:custDataLst>
            </p:nvPr>
          </p:nvSpPr>
          <p:spPr bwMode="auto">
            <a:xfrm flipH="1">
              <a:off x="4262400" y="3433089"/>
              <a:ext cx="271710" cy="299161"/>
            </a:xfrm>
            <a:custGeom>
              <a:avLst/>
              <a:gdLst>
                <a:gd name="T0" fmla="*/ 84 w 126"/>
                <a:gd name="T1" fmla="*/ 54 h 147"/>
                <a:gd name="T2" fmla="*/ 88 w 126"/>
                <a:gd name="T3" fmla="*/ 54 h 147"/>
                <a:gd name="T4" fmla="*/ 120 w 126"/>
                <a:gd name="T5" fmla="*/ 40 h 147"/>
                <a:gd name="T6" fmla="*/ 124 w 126"/>
                <a:gd name="T7" fmla="*/ 30 h 147"/>
                <a:gd name="T8" fmla="*/ 113 w 126"/>
                <a:gd name="T9" fmla="*/ 26 h 147"/>
                <a:gd name="T10" fmla="*/ 92 w 126"/>
                <a:gd name="T11" fmla="*/ 36 h 147"/>
                <a:gd name="T12" fmla="*/ 89 w 126"/>
                <a:gd name="T13" fmla="*/ 36 h 147"/>
                <a:gd name="T14" fmla="*/ 53 w 126"/>
                <a:gd name="T15" fmla="*/ 1 h 147"/>
                <a:gd name="T16" fmla="*/ 50 w 126"/>
                <a:gd name="T17" fmla="*/ 1 h 147"/>
                <a:gd name="T18" fmla="*/ 1 w 126"/>
                <a:gd name="T19" fmla="*/ 50 h 147"/>
                <a:gd name="T20" fmla="*/ 1 w 126"/>
                <a:gd name="T21" fmla="*/ 53 h 147"/>
                <a:gd name="T22" fmla="*/ 34 w 126"/>
                <a:gd name="T23" fmla="*/ 82 h 147"/>
                <a:gd name="T24" fmla="*/ 35 w 126"/>
                <a:gd name="T25" fmla="*/ 86 h 147"/>
                <a:gd name="T26" fmla="*/ 18 w 126"/>
                <a:gd name="T27" fmla="*/ 123 h 147"/>
                <a:gd name="T28" fmla="*/ 19 w 126"/>
                <a:gd name="T29" fmla="*/ 127 h 147"/>
                <a:gd name="T30" fmla="*/ 30 w 126"/>
                <a:gd name="T31" fmla="*/ 143 h 147"/>
                <a:gd name="T32" fmla="*/ 38 w 126"/>
                <a:gd name="T33" fmla="*/ 147 h 147"/>
                <a:gd name="T34" fmla="*/ 45 w 126"/>
                <a:gd name="T35" fmla="*/ 145 h 147"/>
                <a:gd name="T36" fmla="*/ 47 w 126"/>
                <a:gd name="T37" fmla="*/ 130 h 147"/>
                <a:gd name="T38" fmla="*/ 43 w 126"/>
                <a:gd name="T39" fmla="*/ 125 h 147"/>
                <a:gd name="T40" fmla="*/ 42 w 126"/>
                <a:gd name="T41" fmla="*/ 120 h 147"/>
                <a:gd name="T42" fmla="*/ 59 w 126"/>
                <a:gd name="T43" fmla="*/ 81 h 147"/>
                <a:gd name="T44" fmla="*/ 59 w 126"/>
                <a:gd name="T45" fmla="*/ 77 h 147"/>
                <a:gd name="T46" fmla="*/ 40 w 126"/>
                <a:gd name="T47" fmla="*/ 59 h 147"/>
                <a:gd name="T48" fmla="*/ 40 w 126"/>
                <a:gd name="T49" fmla="*/ 55 h 147"/>
                <a:gd name="T50" fmla="*/ 61 w 126"/>
                <a:gd name="T51" fmla="*/ 35 h 147"/>
                <a:gd name="T52" fmla="*/ 65 w 126"/>
                <a:gd name="T53" fmla="*/ 35 h 147"/>
                <a:gd name="T54" fmla="*/ 84 w 126"/>
                <a:gd name="T55" fmla="*/ 5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147">
                  <a:moveTo>
                    <a:pt x="84" y="54"/>
                  </a:moveTo>
                  <a:cubicBezTo>
                    <a:pt x="85" y="55"/>
                    <a:pt x="87" y="55"/>
                    <a:pt x="88" y="54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4" y="38"/>
                    <a:pt x="126" y="34"/>
                    <a:pt x="124" y="30"/>
                  </a:cubicBezTo>
                  <a:cubicBezTo>
                    <a:pt x="122" y="26"/>
                    <a:pt x="117" y="24"/>
                    <a:pt x="113" y="26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7"/>
                    <a:pt x="89" y="37"/>
                    <a:pt x="89" y="36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0"/>
                    <a:pt x="51" y="0"/>
                    <a:pt x="50" y="1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1" y="53"/>
                  </a:cubicBezTo>
                  <a:cubicBezTo>
                    <a:pt x="7" y="59"/>
                    <a:pt x="27" y="76"/>
                    <a:pt x="34" y="82"/>
                  </a:cubicBezTo>
                  <a:cubicBezTo>
                    <a:pt x="35" y="83"/>
                    <a:pt x="36" y="85"/>
                    <a:pt x="35" y="86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4"/>
                    <a:pt x="18" y="126"/>
                    <a:pt x="19" y="127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32" y="145"/>
                    <a:pt x="35" y="147"/>
                    <a:pt x="38" y="147"/>
                  </a:cubicBezTo>
                  <a:cubicBezTo>
                    <a:pt x="40" y="147"/>
                    <a:pt x="42" y="146"/>
                    <a:pt x="45" y="145"/>
                  </a:cubicBezTo>
                  <a:cubicBezTo>
                    <a:pt x="49" y="141"/>
                    <a:pt x="50" y="135"/>
                    <a:pt x="47" y="130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2" y="124"/>
                    <a:pt x="42" y="122"/>
                    <a:pt x="42" y="120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60" y="79"/>
                    <a:pt x="60" y="78"/>
                    <a:pt x="59" y="77"/>
                  </a:cubicBezTo>
                  <a:cubicBezTo>
                    <a:pt x="55" y="73"/>
                    <a:pt x="45" y="63"/>
                    <a:pt x="40" y="59"/>
                  </a:cubicBezTo>
                  <a:cubicBezTo>
                    <a:pt x="39" y="58"/>
                    <a:pt x="39" y="56"/>
                    <a:pt x="40" y="5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4" y="34"/>
                    <a:pt x="65" y="35"/>
                  </a:cubicBezTo>
                  <a:lnTo>
                    <a:pt x="84" y="54"/>
                  </a:ln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1" name="任意多边形: 形状 1730"/>
            <p:cNvSpPr/>
            <p:nvPr>
              <p:custDataLst>
                <p:tags r:id="rId323"/>
              </p:custDataLst>
            </p:nvPr>
          </p:nvSpPr>
          <p:spPr bwMode="auto">
            <a:xfrm flipH="1">
              <a:off x="2207251" y="3573215"/>
              <a:ext cx="215180" cy="126370"/>
            </a:xfrm>
            <a:custGeom>
              <a:avLst/>
              <a:gdLst>
                <a:gd name="T0" fmla="*/ 100 w 100"/>
                <a:gd name="T1" fmla="*/ 62 h 62"/>
                <a:gd name="T2" fmla="*/ 100 w 100"/>
                <a:gd name="T3" fmla="*/ 19 h 62"/>
                <a:gd name="T4" fmla="*/ 81 w 100"/>
                <a:gd name="T5" fmla="*/ 0 h 62"/>
                <a:gd name="T6" fmla="*/ 19 w 100"/>
                <a:gd name="T7" fmla="*/ 0 h 62"/>
                <a:gd name="T8" fmla="*/ 0 w 100"/>
                <a:gd name="T9" fmla="*/ 19 h 62"/>
                <a:gd name="T10" fmla="*/ 0 w 100"/>
                <a:gd name="T11" fmla="*/ 43 h 62"/>
                <a:gd name="T12" fmla="*/ 15 w 100"/>
                <a:gd name="T13" fmla="*/ 43 h 62"/>
                <a:gd name="T14" fmla="*/ 15 w 100"/>
                <a:gd name="T15" fmla="*/ 19 h 62"/>
                <a:gd name="T16" fmla="*/ 19 w 100"/>
                <a:gd name="T17" fmla="*/ 15 h 62"/>
                <a:gd name="T18" fmla="*/ 81 w 100"/>
                <a:gd name="T19" fmla="*/ 15 h 62"/>
                <a:gd name="T20" fmla="*/ 85 w 100"/>
                <a:gd name="T21" fmla="*/ 19 h 62"/>
                <a:gd name="T22" fmla="*/ 85 w 100"/>
                <a:gd name="T23" fmla="*/ 62 h 62"/>
                <a:gd name="T24" fmla="*/ 100 w 100"/>
                <a:gd name="T2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62">
                  <a:moveTo>
                    <a:pt x="100" y="62"/>
                  </a:moveTo>
                  <a:cubicBezTo>
                    <a:pt x="100" y="19"/>
                    <a:pt x="100" y="19"/>
                    <a:pt x="100" y="19"/>
                  </a:cubicBezTo>
                  <a:cubicBezTo>
                    <a:pt x="100" y="9"/>
                    <a:pt x="92" y="0"/>
                    <a:pt x="8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7"/>
                    <a:pt x="16" y="15"/>
                    <a:pt x="19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4" y="15"/>
                    <a:pt x="85" y="17"/>
                    <a:pt x="85" y="19"/>
                  </a:cubicBezTo>
                  <a:cubicBezTo>
                    <a:pt x="85" y="62"/>
                    <a:pt x="85" y="62"/>
                    <a:pt x="85" y="62"/>
                  </a:cubicBezTo>
                  <a:lnTo>
                    <a:pt x="100" y="6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2" name="任意多边形: 形状 1731"/>
            <p:cNvSpPr/>
            <p:nvPr>
              <p:custDataLst>
                <p:tags r:id="rId324"/>
              </p:custDataLst>
            </p:nvPr>
          </p:nvSpPr>
          <p:spPr bwMode="auto">
            <a:xfrm flipH="1">
              <a:off x="2178986" y="3707322"/>
              <a:ext cx="273534" cy="147002"/>
            </a:xfrm>
            <a:custGeom>
              <a:avLst/>
              <a:gdLst>
                <a:gd name="T0" fmla="*/ 99 w 127"/>
                <a:gd name="T1" fmla="*/ 0 h 72"/>
                <a:gd name="T2" fmla="*/ 64 w 127"/>
                <a:gd name="T3" fmla="*/ 0 h 72"/>
                <a:gd name="T4" fmla="*/ 64 w 127"/>
                <a:gd name="T5" fmla="*/ 20 h 72"/>
                <a:gd name="T6" fmla="*/ 75 w 127"/>
                <a:gd name="T7" fmla="*/ 31 h 72"/>
                <a:gd name="T8" fmla="*/ 68 w 127"/>
                <a:gd name="T9" fmla="*/ 41 h 72"/>
                <a:gd name="T10" fmla="*/ 68 w 127"/>
                <a:gd name="T11" fmla="*/ 41 h 72"/>
                <a:gd name="T12" fmla="*/ 68 w 127"/>
                <a:gd name="T13" fmla="*/ 59 h 72"/>
                <a:gd name="T14" fmla="*/ 64 w 127"/>
                <a:gd name="T15" fmla="*/ 59 h 72"/>
                <a:gd name="T16" fmla="*/ 64 w 127"/>
                <a:gd name="T17" fmla="*/ 72 h 72"/>
                <a:gd name="T18" fmla="*/ 127 w 127"/>
                <a:gd name="T19" fmla="*/ 72 h 72"/>
                <a:gd name="T20" fmla="*/ 127 w 127"/>
                <a:gd name="T21" fmla="*/ 0 h 72"/>
                <a:gd name="T22" fmla="*/ 114 w 127"/>
                <a:gd name="T23" fmla="*/ 0 h 72"/>
                <a:gd name="T24" fmla="*/ 99 w 127"/>
                <a:gd name="T25" fmla="*/ 0 h 72"/>
                <a:gd name="T26" fmla="*/ 64 w 127"/>
                <a:gd name="T27" fmla="*/ 0 h 72"/>
                <a:gd name="T28" fmla="*/ 0 w 127"/>
                <a:gd name="T29" fmla="*/ 0 h 72"/>
                <a:gd name="T30" fmla="*/ 0 w 127"/>
                <a:gd name="T31" fmla="*/ 72 h 72"/>
                <a:gd name="T32" fmla="*/ 64 w 127"/>
                <a:gd name="T33" fmla="*/ 72 h 72"/>
                <a:gd name="T34" fmla="*/ 64 w 127"/>
                <a:gd name="T35" fmla="*/ 59 h 72"/>
                <a:gd name="T36" fmla="*/ 59 w 127"/>
                <a:gd name="T37" fmla="*/ 59 h 72"/>
                <a:gd name="T38" fmla="*/ 59 w 127"/>
                <a:gd name="T39" fmla="*/ 41 h 72"/>
                <a:gd name="T40" fmla="*/ 52 w 127"/>
                <a:gd name="T41" fmla="*/ 31 h 72"/>
                <a:gd name="T42" fmla="*/ 64 w 127"/>
                <a:gd name="T43" fmla="*/ 20 h 72"/>
                <a:gd name="T44" fmla="*/ 64 w 127"/>
                <a:gd name="T45" fmla="*/ 20 h 72"/>
                <a:gd name="T46" fmla="*/ 64 w 127"/>
                <a:gd name="T4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7" h="72">
                  <a:moveTo>
                    <a:pt x="99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70" y="20"/>
                    <a:pt x="75" y="25"/>
                    <a:pt x="75" y="31"/>
                  </a:cubicBezTo>
                  <a:cubicBezTo>
                    <a:pt x="75" y="36"/>
                    <a:pt x="72" y="40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14" y="0"/>
                    <a:pt x="114" y="0"/>
                    <a:pt x="114" y="0"/>
                  </a:cubicBezTo>
                  <a:lnTo>
                    <a:pt x="99" y="0"/>
                  </a:lnTo>
                  <a:close/>
                  <a:moveTo>
                    <a:pt x="6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5" y="40"/>
                    <a:pt x="52" y="36"/>
                    <a:pt x="52" y="31"/>
                  </a:cubicBezTo>
                  <a:cubicBezTo>
                    <a:pt x="52" y="25"/>
                    <a:pt x="57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3" name="任意多边形: 形状 1732"/>
            <p:cNvSpPr/>
            <p:nvPr>
              <p:custDataLst>
                <p:tags r:id="rId325"/>
              </p:custDataLst>
            </p:nvPr>
          </p:nvSpPr>
          <p:spPr bwMode="auto">
            <a:xfrm flipH="1">
              <a:off x="4448403" y="3073753"/>
              <a:ext cx="394800" cy="349021"/>
            </a:xfrm>
            <a:custGeom>
              <a:avLst/>
              <a:gdLst>
                <a:gd name="T0" fmla="*/ 26 w 183"/>
                <a:gd name="T1" fmla="*/ 139 h 172"/>
                <a:gd name="T2" fmla="*/ 76 w 183"/>
                <a:gd name="T3" fmla="*/ 113 h 172"/>
                <a:gd name="T4" fmla="*/ 85 w 183"/>
                <a:gd name="T5" fmla="*/ 111 h 172"/>
                <a:gd name="T6" fmla="*/ 86 w 183"/>
                <a:gd name="T7" fmla="*/ 121 h 172"/>
                <a:gd name="T8" fmla="*/ 85 w 183"/>
                <a:gd name="T9" fmla="*/ 142 h 172"/>
                <a:gd name="T10" fmla="*/ 84 w 183"/>
                <a:gd name="T11" fmla="*/ 172 h 172"/>
                <a:gd name="T12" fmla="*/ 99 w 183"/>
                <a:gd name="T13" fmla="*/ 172 h 172"/>
                <a:gd name="T14" fmla="*/ 98 w 183"/>
                <a:gd name="T15" fmla="*/ 142 h 172"/>
                <a:gd name="T16" fmla="*/ 97 w 183"/>
                <a:gd name="T17" fmla="*/ 121 h 172"/>
                <a:gd name="T18" fmla="*/ 97 w 183"/>
                <a:gd name="T19" fmla="*/ 111 h 172"/>
                <a:gd name="T20" fmla="*/ 106 w 183"/>
                <a:gd name="T21" fmla="*/ 113 h 172"/>
                <a:gd name="T22" fmla="*/ 156 w 183"/>
                <a:gd name="T23" fmla="*/ 139 h 172"/>
                <a:gd name="T24" fmla="*/ 176 w 183"/>
                <a:gd name="T25" fmla="*/ 119 h 172"/>
                <a:gd name="T26" fmla="*/ 164 w 183"/>
                <a:gd name="T27" fmla="*/ 56 h 172"/>
                <a:gd name="T28" fmla="*/ 102 w 183"/>
                <a:gd name="T29" fmla="*/ 96 h 172"/>
                <a:gd name="T30" fmla="*/ 99 w 183"/>
                <a:gd name="T31" fmla="*/ 90 h 172"/>
                <a:gd name="T32" fmla="*/ 110 w 183"/>
                <a:gd name="T33" fmla="*/ 69 h 172"/>
                <a:gd name="T34" fmla="*/ 131 w 183"/>
                <a:gd name="T35" fmla="*/ 21 h 172"/>
                <a:gd name="T36" fmla="*/ 91 w 183"/>
                <a:gd name="T37" fmla="*/ 1 h 172"/>
                <a:gd name="T38" fmla="*/ 52 w 183"/>
                <a:gd name="T39" fmla="*/ 21 h 172"/>
                <a:gd name="T40" fmla="*/ 72 w 183"/>
                <a:gd name="T41" fmla="*/ 69 h 172"/>
                <a:gd name="T42" fmla="*/ 83 w 183"/>
                <a:gd name="T43" fmla="*/ 90 h 172"/>
                <a:gd name="T44" fmla="*/ 81 w 183"/>
                <a:gd name="T45" fmla="*/ 96 h 172"/>
                <a:gd name="T46" fmla="*/ 19 w 183"/>
                <a:gd name="T47" fmla="*/ 56 h 172"/>
                <a:gd name="T48" fmla="*/ 6 w 183"/>
                <a:gd name="T49" fmla="*/ 119 h 172"/>
                <a:gd name="T50" fmla="*/ 26 w 183"/>
                <a:gd name="T51" fmla="*/ 13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72">
                  <a:moveTo>
                    <a:pt x="26" y="139"/>
                  </a:moveTo>
                  <a:cubicBezTo>
                    <a:pt x="45" y="141"/>
                    <a:pt x="61" y="121"/>
                    <a:pt x="76" y="113"/>
                  </a:cubicBezTo>
                  <a:cubicBezTo>
                    <a:pt x="78" y="112"/>
                    <a:pt x="83" y="109"/>
                    <a:pt x="85" y="111"/>
                  </a:cubicBezTo>
                  <a:cubicBezTo>
                    <a:pt x="87" y="114"/>
                    <a:pt x="86" y="118"/>
                    <a:pt x="86" y="121"/>
                  </a:cubicBezTo>
                  <a:cubicBezTo>
                    <a:pt x="86" y="128"/>
                    <a:pt x="85" y="135"/>
                    <a:pt x="85" y="142"/>
                  </a:cubicBezTo>
                  <a:cubicBezTo>
                    <a:pt x="85" y="150"/>
                    <a:pt x="84" y="164"/>
                    <a:pt x="84" y="172"/>
                  </a:cubicBezTo>
                  <a:cubicBezTo>
                    <a:pt x="99" y="172"/>
                    <a:pt x="99" y="172"/>
                    <a:pt x="99" y="172"/>
                  </a:cubicBezTo>
                  <a:cubicBezTo>
                    <a:pt x="98" y="164"/>
                    <a:pt x="98" y="150"/>
                    <a:pt x="98" y="142"/>
                  </a:cubicBezTo>
                  <a:cubicBezTo>
                    <a:pt x="97" y="135"/>
                    <a:pt x="97" y="128"/>
                    <a:pt x="97" y="121"/>
                  </a:cubicBezTo>
                  <a:cubicBezTo>
                    <a:pt x="97" y="118"/>
                    <a:pt x="96" y="114"/>
                    <a:pt x="97" y="111"/>
                  </a:cubicBezTo>
                  <a:cubicBezTo>
                    <a:pt x="99" y="109"/>
                    <a:pt x="105" y="112"/>
                    <a:pt x="106" y="113"/>
                  </a:cubicBezTo>
                  <a:cubicBezTo>
                    <a:pt x="122" y="121"/>
                    <a:pt x="137" y="141"/>
                    <a:pt x="156" y="139"/>
                  </a:cubicBezTo>
                  <a:cubicBezTo>
                    <a:pt x="167" y="137"/>
                    <a:pt x="173" y="128"/>
                    <a:pt x="176" y="119"/>
                  </a:cubicBezTo>
                  <a:cubicBezTo>
                    <a:pt x="182" y="101"/>
                    <a:pt x="183" y="68"/>
                    <a:pt x="164" y="56"/>
                  </a:cubicBezTo>
                  <a:cubicBezTo>
                    <a:pt x="135" y="39"/>
                    <a:pt x="126" y="94"/>
                    <a:pt x="102" y="96"/>
                  </a:cubicBezTo>
                  <a:cubicBezTo>
                    <a:pt x="97" y="96"/>
                    <a:pt x="98" y="94"/>
                    <a:pt x="99" y="90"/>
                  </a:cubicBezTo>
                  <a:cubicBezTo>
                    <a:pt x="101" y="82"/>
                    <a:pt x="105" y="75"/>
                    <a:pt x="110" y="69"/>
                  </a:cubicBezTo>
                  <a:cubicBezTo>
                    <a:pt x="120" y="56"/>
                    <a:pt x="134" y="39"/>
                    <a:pt x="131" y="21"/>
                  </a:cubicBezTo>
                  <a:cubicBezTo>
                    <a:pt x="128" y="5"/>
                    <a:pt x="109" y="0"/>
                    <a:pt x="91" y="1"/>
                  </a:cubicBezTo>
                  <a:cubicBezTo>
                    <a:pt x="74" y="0"/>
                    <a:pt x="54" y="5"/>
                    <a:pt x="52" y="21"/>
                  </a:cubicBezTo>
                  <a:cubicBezTo>
                    <a:pt x="49" y="39"/>
                    <a:pt x="62" y="56"/>
                    <a:pt x="72" y="69"/>
                  </a:cubicBezTo>
                  <a:cubicBezTo>
                    <a:pt x="77" y="75"/>
                    <a:pt x="81" y="82"/>
                    <a:pt x="83" y="90"/>
                  </a:cubicBezTo>
                  <a:cubicBezTo>
                    <a:pt x="85" y="94"/>
                    <a:pt x="85" y="96"/>
                    <a:pt x="81" y="96"/>
                  </a:cubicBezTo>
                  <a:cubicBezTo>
                    <a:pt x="57" y="94"/>
                    <a:pt x="47" y="39"/>
                    <a:pt x="19" y="56"/>
                  </a:cubicBezTo>
                  <a:cubicBezTo>
                    <a:pt x="0" y="68"/>
                    <a:pt x="0" y="101"/>
                    <a:pt x="6" y="119"/>
                  </a:cubicBezTo>
                  <a:cubicBezTo>
                    <a:pt x="9" y="128"/>
                    <a:pt x="16" y="137"/>
                    <a:pt x="26" y="13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4" name="任意多边形: 形状 1733"/>
            <p:cNvSpPr/>
            <p:nvPr>
              <p:custDataLst>
                <p:tags r:id="rId326"/>
              </p:custDataLst>
            </p:nvPr>
          </p:nvSpPr>
          <p:spPr bwMode="auto">
            <a:xfrm flipH="1">
              <a:off x="2916615" y="1082785"/>
              <a:ext cx="282651" cy="284547"/>
            </a:xfrm>
            <a:custGeom>
              <a:avLst/>
              <a:gdLst>
                <a:gd name="T0" fmla="*/ 108 w 131"/>
                <a:gd name="T1" fmla="*/ 96 h 140"/>
                <a:gd name="T2" fmla="*/ 118 w 131"/>
                <a:gd name="T3" fmla="*/ 91 h 140"/>
                <a:gd name="T4" fmla="*/ 129 w 131"/>
                <a:gd name="T5" fmla="*/ 87 h 140"/>
                <a:gd name="T6" fmla="*/ 130 w 131"/>
                <a:gd name="T7" fmla="*/ 70 h 140"/>
                <a:gd name="T8" fmla="*/ 127 w 131"/>
                <a:gd name="T9" fmla="*/ 41 h 140"/>
                <a:gd name="T10" fmla="*/ 98 w 131"/>
                <a:gd name="T11" fmla="*/ 66 h 140"/>
                <a:gd name="T12" fmla="*/ 88 w 131"/>
                <a:gd name="T13" fmla="*/ 76 h 140"/>
                <a:gd name="T14" fmla="*/ 88 w 131"/>
                <a:gd name="T15" fmla="*/ 65 h 140"/>
                <a:gd name="T16" fmla="*/ 98 w 131"/>
                <a:gd name="T17" fmla="*/ 46 h 140"/>
                <a:gd name="T18" fmla="*/ 89 w 131"/>
                <a:gd name="T19" fmla="*/ 28 h 140"/>
                <a:gd name="T20" fmla="*/ 66 w 131"/>
                <a:gd name="T21" fmla="*/ 1 h 140"/>
                <a:gd name="T22" fmla="*/ 66 w 131"/>
                <a:gd name="T23" fmla="*/ 0 h 140"/>
                <a:gd name="T24" fmla="*/ 65 w 131"/>
                <a:gd name="T25" fmla="*/ 0 h 140"/>
                <a:gd name="T26" fmla="*/ 65 w 131"/>
                <a:gd name="T27" fmla="*/ 0 h 140"/>
                <a:gd name="T28" fmla="*/ 65 w 131"/>
                <a:gd name="T29" fmla="*/ 1 h 140"/>
                <a:gd name="T30" fmla="*/ 42 w 131"/>
                <a:gd name="T31" fmla="*/ 28 h 140"/>
                <a:gd name="T32" fmla="*/ 33 w 131"/>
                <a:gd name="T33" fmla="*/ 46 h 140"/>
                <a:gd name="T34" fmla="*/ 43 w 131"/>
                <a:gd name="T35" fmla="*/ 65 h 140"/>
                <a:gd name="T36" fmla="*/ 43 w 131"/>
                <a:gd name="T37" fmla="*/ 76 h 140"/>
                <a:gd name="T38" fmla="*/ 33 w 131"/>
                <a:gd name="T39" fmla="*/ 66 h 140"/>
                <a:gd name="T40" fmla="*/ 4 w 131"/>
                <a:gd name="T41" fmla="*/ 41 h 140"/>
                <a:gd name="T42" fmla="*/ 1 w 131"/>
                <a:gd name="T43" fmla="*/ 70 h 140"/>
                <a:gd name="T44" fmla="*/ 2 w 131"/>
                <a:gd name="T45" fmla="*/ 87 h 140"/>
                <a:gd name="T46" fmla="*/ 13 w 131"/>
                <a:gd name="T47" fmla="*/ 91 h 140"/>
                <a:gd name="T48" fmla="*/ 23 w 131"/>
                <a:gd name="T49" fmla="*/ 96 h 140"/>
                <a:gd name="T50" fmla="*/ 21 w 131"/>
                <a:gd name="T51" fmla="*/ 103 h 140"/>
                <a:gd name="T52" fmla="*/ 1 w 131"/>
                <a:gd name="T53" fmla="*/ 96 h 140"/>
                <a:gd name="T54" fmla="*/ 30 w 131"/>
                <a:gd name="T55" fmla="*/ 137 h 140"/>
                <a:gd name="T56" fmla="*/ 44 w 131"/>
                <a:gd name="T57" fmla="*/ 135 h 140"/>
                <a:gd name="T58" fmla="*/ 58 w 131"/>
                <a:gd name="T59" fmla="*/ 126 h 140"/>
                <a:gd name="T60" fmla="*/ 62 w 131"/>
                <a:gd name="T61" fmla="*/ 124 h 140"/>
                <a:gd name="T62" fmla="*/ 62 w 131"/>
                <a:gd name="T63" fmla="*/ 118 h 140"/>
                <a:gd name="T64" fmla="*/ 65 w 131"/>
                <a:gd name="T65" fmla="*/ 62 h 140"/>
                <a:gd name="T66" fmla="*/ 69 w 131"/>
                <a:gd name="T67" fmla="*/ 118 h 140"/>
                <a:gd name="T68" fmla="*/ 69 w 131"/>
                <a:gd name="T69" fmla="*/ 124 h 140"/>
                <a:gd name="T70" fmla="*/ 73 w 131"/>
                <a:gd name="T71" fmla="*/ 126 h 140"/>
                <a:gd name="T72" fmla="*/ 87 w 131"/>
                <a:gd name="T73" fmla="*/ 135 h 140"/>
                <a:gd name="T74" fmla="*/ 101 w 131"/>
                <a:gd name="T75" fmla="*/ 137 h 140"/>
                <a:gd name="T76" fmla="*/ 130 w 131"/>
                <a:gd name="T77" fmla="*/ 96 h 140"/>
                <a:gd name="T78" fmla="*/ 110 w 131"/>
                <a:gd name="T79" fmla="*/ 103 h 140"/>
                <a:gd name="T80" fmla="*/ 108 w 131"/>
                <a:gd name="T81" fmla="*/ 9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1" h="140">
                  <a:moveTo>
                    <a:pt x="108" y="96"/>
                  </a:moveTo>
                  <a:cubicBezTo>
                    <a:pt x="111" y="94"/>
                    <a:pt x="114" y="93"/>
                    <a:pt x="118" y="91"/>
                  </a:cubicBezTo>
                  <a:cubicBezTo>
                    <a:pt x="121" y="90"/>
                    <a:pt x="125" y="89"/>
                    <a:pt x="129" y="87"/>
                  </a:cubicBezTo>
                  <a:cubicBezTo>
                    <a:pt x="130" y="81"/>
                    <a:pt x="131" y="76"/>
                    <a:pt x="130" y="70"/>
                  </a:cubicBezTo>
                  <a:cubicBezTo>
                    <a:pt x="129" y="60"/>
                    <a:pt x="127" y="51"/>
                    <a:pt x="127" y="41"/>
                  </a:cubicBezTo>
                  <a:cubicBezTo>
                    <a:pt x="115" y="48"/>
                    <a:pt x="101" y="52"/>
                    <a:pt x="98" y="66"/>
                  </a:cubicBezTo>
                  <a:cubicBezTo>
                    <a:pt x="97" y="69"/>
                    <a:pt x="93" y="79"/>
                    <a:pt x="88" y="76"/>
                  </a:cubicBezTo>
                  <a:cubicBezTo>
                    <a:pt x="84" y="73"/>
                    <a:pt x="86" y="68"/>
                    <a:pt x="88" y="65"/>
                  </a:cubicBezTo>
                  <a:cubicBezTo>
                    <a:pt x="92" y="59"/>
                    <a:pt x="98" y="54"/>
                    <a:pt x="98" y="46"/>
                  </a:cubicBezTo>
                  <a:cubicBezTo>
                    <a:pt x="98" y="39"/>
                    <a:pt x="93" y="33"/>
                    <a:pt x="89" y="28"/>
                  </a:cubicBezTo>
                  <a:cubicBezTo>
                    <a:pt x="82" y="19"/>
                    <a:pt x="73" y="11"/>
                    <a:pt x="66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58" y="11"/>
                    <a:pt x="49" y="19"/>
                    <a:pt x="42" y="28"/>
                  </a:cubicBezTo>
                  <a:cubicBezTo>
                    <a:pt x="38" y="33"/>
                    <a:pt x="33" y="39"/>
                    <a:pt x="33" y="46"/>
                  </a:cubicBezTo>
                  <a:cubicBezTo>
                    <a:pt x="33" y="54"/>
                    <a:pt x="39" y="59"/>
                    <a:pt x="43" y="65"/>
                  </a:cubicBezTo>
                  <a:cubicBezTo>
                    <a:pt x="45" y="68"/>
                    <a:pt x="47" y="73"/>
                    <a:pt x="43" y="76"/>
                  </a:cubicBezTo>
                  <a:cubicBezTo>
                    <a:pt x="38" y="79"/>
                    <a:pt x="34" y="69"/>
                    <a:pt x="33" y="66"/>
                  </a:cubicBezTo>
                  <a:cubicBezTo>
                    <a:pt x="30" y="52"/>
                    <a:pt x="16" y="48"/>
                    <a:pt x="4" y="41"/>
                  </a:cubicBezTo>
                  <a:cubicBezTo>
                    <a:pt x="4" y="51"/>
                    <a:pt x="2" y="60"/>
                    <a:pt x="1" y="70"/>
                  </a:cubicBezTo>
                  <a:cubicBezTo>
                    <a:pt x="0" y="76"/>
                    <a:pt x="1" y="81"/>
                    <a:pt x="2" y="87"/>
                  </a:cubicBezTo>
                  <a:cubicBezTo>
                    <a:pt x="6" y="89"/>
                    <a:pt x="10" y="90"/>
                    <a:pt x="13" y="91"/>
                  </a:cubicBezTo>
                  <a:cubicBezTo>
                    <a:pt x="17" y="93"/>
                    <a:pt x="20" y="94"/>
                    <a:pt x="23" y="96"/>
                  </a:cubicBezTo>
                  <a:cubicBezTo>
                    <a:pt x="26" y="98"/>
                    <a:pt x="26" y="104"/>
                    <a:pt x="21" y="103"/>
                  </a:cubicBezTo>
                  <a:cubicBezTo>
                    <a:pt x="14" y="102"/>
                    <a:pt x="8" y="95"/>
                    <a:pt x="1" y="96"/>
                  </a:cubicBezTo>
                  <a:cubicBezTo>
                    <a:pt x="4" y="114"/>
                    <a:pt x="13" y="130"/>
                    <a:pt x="30" y="137"/>
                  </a:cubicBezTo>
                  <a:cubicBezTo>
                    <a:pt x="36" y="140"/>
                    <a:pt x="39" y="139"/>
                    <a:pt x="44" y="135"/>
                  </a:cubicBezTo>
                  <a:cubicBezTo>
                    <a:pt x="49" y="131"/>
                    <a:pt x="52" y="127"/>
                    <a:pt x="58" y="126"/>
                  </a:cubicBezTo>
                  <a:cubicBezTo>
                    <a:pt x="60" y="126"/>
                    <a:pt x="62" y="127"/>
                    <a:pt x="62" y="124"/>
                  </a:cubicBezTo>
                  <a:cubicBezTo>
                    <a:pt x="62" y="122"/>
                    <a:pt x="62" y="120"/>
                    <a:pt x="62" y="118"/>
                  </a:cubicBezTo>
                  <a:cubicBezTo>
                    <a:pt x="63" y="97"/>
                    <a:pt x="65" y="84"/>
                    <a:pt x="65" y="62"/>
                  </a:cubicBezTo>
                  <a:cubicBezTo>
                    <a:pt x="66" y="84"/>
                    <a:pt x="68" y="97"/>
                    <a:pt x="69" y="118"/>
                  </a:cubicBezTo>
                  <a:cubicBezTo>
                    <a:pt x="69" y="120"/>
                    <a:pt x="69" y="122"/>
                    <a:pt x="69" y="124"/>
                  </a:cubicBezTo>
                  <a:cubicBezTo>
                    <a:pt x="69" y="127"/>
                    <a:pt x="71" y="126"/>
                    <a:pt x="73" y="126"/>
                  </a:cubicBezTo>
                  <a:cubicBezTo>
                    <a:pt x="79" y="127"/>
                    <a:pt x="82" y="131"/>
                    <a:pt x="87" y="135"/>
                  </a:cubicBezTo>
                  <a:cubicBezTo>
                    <a:pt x="92" y="139"/>
                    <a:pt x="95" y="140"/>
                    <a:pt x="101" y="137"/>
                  </a:cubicBezTo>
                  <a:cubicBezTo>
                    <a:pt x="118" y="130"/>
                    <a:pt x="127" y="114"/>
                    <a:pt x="130" y="96"/>
                  </a:cubicBezTo>
                  <a:cubicBezTo>
                    <a:pt x="123" y="95"/>
                    <a:pt x="117" y="102"/>
                    <a:pt x="110" y="103"/>
                  </a:cubicBezTo>
                  <a:cubicBezTo>
                    <a:pt x="105" y="104"/>
                    <a:pt x="105" y="98"/>
                    <a:pt x="108" y="9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5" name="矩形 1734"/>
            <p:cNvSpPr/>
            <p:nvPr>
              <p:custDataLst>
                <p:tags r:id="rId327"/>
              </p:custDataLst>
            </p:nvPr>
          </p:nvSpPr>
          <p:spPr bwMode="auto">
            <a:xfrm flipH="1">
              <a:off x="3047911" y="1347559"/>
              <a:ext cx="20059" cy="8510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6" name="任意多边形: 形状 1735"/>
            <p:cNvSpPr/>
            <p:nvPr>
              <p:custDataLst>
                <p:tags r:id="rId328"/>
              </p:custDataLst>
            </p:nvPr>
          </p:nvSpPr>
          <p:spPr bwMode="auto">
            <a:xfrm flipH="1">
              <a:off x="2662229" y="5966503"/>
              <a:ext cx="331887" cy="227810"/>
            </a:xfrm>
            <a:custGeom>
              <a:avLst/>
              <a:gdLst>
                <a:gd name="T0" fmla="*/ 103 w 154"/>
                <a:gd name="T1" fmla="*/ 112 h 112"/>
                <a:gd name="T2" fmla="*/ 154 w 154"/>
                <a:gd name="T3" fmla="*/ 112 h 112"/>
                <a:gd name="T4" fmla="*/ 154 w 154"/>
                <a:gd name="T5" fmla="*/ 0 h 112"/>
                <a:gd name="T6" fmla="*/ 103 w 154"/>
                <a:gd name="T7" fmla="*/ 0 h 112"/>
                <a:gd name="T8" fmla="*/ 103 w 154"/>
                <a:gd name="T9" fmla="*/ 47 h 112"/>
                <a:gd name="T10" fmla="*/ 140 w 154"/>
                <a:gd name="T11" fmla="*/ 99 h 112"/>
                <a:gd name="T12" fmla="*/ 103 w 154"/>
                <a:gd name="T13" fmla="*/ 99 h 112"/>
                <a:gd name="T14" fmla="*/ 103 w 154"/>
                <a:gd name="T15" fmla="*/ 112 h 112"/>
                <a:gd name="T16" fmla="*/ 70 w 154"/>
                <a:gd name="T17" fmla="*/ 112 h 112"/>
                <a:gd name="T18" fmla="*/ 103 w 154"/>
                <a:gd name="T19" fmla="*/ 112 h 112"/>
                <a:gd name="T20" fmla="*/ 103 w 154"/>
                <a:gd name="T21" fmla="*/ 99 h 112"/>
                <a:gd name="T22" fmla="*/ 80 w 154"/>
                <a:gd name="T23" fmla="*/ 99 h 112"/>
                <a:gd name="T24" fmla="*/ 78 w 154"/>
                <a:gd name="T25" fmla="*/ 96 h 112"/>
                <a:gd name="T26" fmla="*/ 70 w 154"/>
                <a:gd name="T27" fmla="*/ 85 h 112"/>
                <a:gd name="T28" fmla="*/ 70 w 154"/>
                <a:gd name="T29" fmla="*/ 92 h 112"/>
                <a:gd name="T30" fmla="*/ 75 w 154"/>
                <a:gd name="T31" fmla="*/ 99 h 112"/>
                <a:gd name="T32" fmla="*/ 70 w 154"/>
                <a:gd name="T33" fmla="*/ 99 h 112"/>
                <a:gd name="T34" fmla="*/ 70 w 154"/>
                <a:gd name="T35" fmla="*/ 112 h 112"/>
                <a:gd name="T36" fmla="*/ 103 w 154"/>
                <a:gd name="T37" fmla="*/ 0 h 112"/>
                <a:gd name="T38" fmla="*/ 70 w 154"/>
                <a:gd name="T39" fmla="*/ 0 h 112"/>
                <a:gd name="T40" fmla="*/ 70 w 154"/>
                <a:gd name="T41" fmla="*/ 72 h 112"/>
                <a:gd name="T42" fmla="*/ 95 w 154"/>
                <a:gd name="T43" fmla="*/ 37 h 112"/>
                <a:gd name="T44" fmla="*/ 95 w 154"/>
                <a:gd name="T45" fmla="*/ 37 h 112"/>
                <a:gd name="T46" fmla="*/ 103 w 154"/>
                <a:gd name="T47" fmla="*/ 47 h 112"/>
                <a:gd name="T48" fmla="*/ 103 w 154"/>
                <a:gd name="T49" fmla="*/ 0 h 112"/>
                <a:gd name="T50" fmla="*/ 44 w 154"/>
                <a:gd name="T51" fmla="*/ 112 h 112"/>
                <a:gd name="T52" fmla="*/ 70 w 154"/>
                <a:gd name="T53" fmla="*/ 112 h 112"/>
                <a:gd name="T54" fmla="*/ 70 w 154"/>
                <a:gd name="T55" fmla="*/ 99 h 112"/>
                <a:gd name="T56" fmla="*/ 51 w 154"/>
                <a:gd name="T57" fmla="*/ 99 h 112"/>
                <a:gd name="T58" fmla="*/ 44 w 154"/>
                <a:gd name="T59" fmla="*/ 99 h 112"/>
                <a:gd name="T60" fmla="*/ 44 w 154"/>
                <a:gd name="T61" fmla="*/ 112 h 112"/>
                <a:gd name="T62" fmla="*/ 70 w 154"/>
                <a:gd name="T63" fmla="*/ 0 h 112"/>
                <a:gd name="T64" fmla="*/ 44 w 154"/>
                <a:gd name="T65" fmla="*/ 0 h 112"/>
                <a:gd name="T66" fmla="*/ 44 w 154"/>
                <a:gd name="T67" fmla="*/ 19 h 112"/>
                <a:gd name="T68" fmla="*/ 47 w 154"/>
                <a:gd name="T69" fmla="*/ 27 h 112"/>
                <a:gd name="T70" fmla="*/ 44 w 154"/>
                <a:gd name="T71" fmla="*/ 35 h 112"/>
                <a:gd name="T72" fmla="*/ 44 w 154"/>
                <a:gd name="T73" fmla="*/ 56 h 112"/>
                <a:gd name="T74" fmla="*/ 44 w 154"/>
                <a:gd name="T75" fmla="*/ 56 h 112"/>
                <a:gd name="T76" fmla="*/ 63 w 154"/>
                <a:gd name="T77" fmla="*/ 82 h 112"/>
                <a:gd name="T78" fmla="*/ 70 w 154"/>
                <a:gd name="T79" fmla="*/ 92 h 112"/>
                <a:gd name="T80" fmla="*/ 70 w 154"/>
                <a:gd name="T81" fmla="*/ 85 h 112"/>
                <a:gd name="T82" fmla="*/ 66 w 154"/>
                <a:gd name="T83" fmla="*/ 78 h 112"/>
                <a:gd name="T84" fmla="*/ 70 w 154"/>
                <a:gd name="T85" fmla="*/ 72 h 112"/>
                <a:gd name="T86" fmla="*/ 70 w 154"/>
                <a:gd name="T87" fmla="*/ 0 h 112"/>
                <a:gd name="T88" fmla="*/ 0 w 154"/>
                <a:gd name="T89" fmla="*/ 112 h 112"/>
                <a:gd name="T90" fmla="*/ 44 w 154"/>
                <a:gd name="T91" fmla="*/ 112 h 112"/>
                <a:gd name="T92" fmla="*/ 44 w 154"/>
                <a:gd name="T93" fmla="*/ 99 h 112"/>
                <a:gd name="T94" fmla="*/ 13 w 154"/>
                <a:gd name="T95" fmla="*/ 99 h 112"/>
                <a:gd name="T96" fmla="*/ 13 w 154"/>
                <a:gd name="T97" fmla="*/ 99 h 112"/>
                <a:gd name="T98" fmla="*/ 44 w 154"/>
                <a:gd name="T99" fmla="*/ 56 h 112"/>
                <a:gd name="T100" fmla="*/ 44 w 154"/>
                <a:gd name="T101" fmla="*/ 35 h 112"/>
                <a:gd name="T102" fmla="*/ 35 w 154"/>
                <a:gd name="T103" fmla="*/ 39 h 112"/>
                <a:gd name="T104" fmla="*/ 22 w 154"/>
                <a:gd name="T105" fmla="*/ 27 h 112"/>
                <a:gd name="T106" fmla="*/ 35 w 154"/>
                <a:gd name="T107" fmla="*/ 15 h 112"/>
                <a:gd name="T108" fmla="*/ 35 w 154"/>
                <a:gd name="T109" fmla="*/ 15 h 112"/>
                <a:gd name="T110" fmla="*/ 44 w 154"/>
                <a:gd name="T111" fmla="*/ 19 h 112"/>
                <a:gd name="T112" fmla="*/ 44 w 154"/>
                <a:gd name="T113" fmla="*/ 0 h 112"/>
                <a:gd name="T114" fmla="*/ 0 w 154"/>
                <a:gd name="T115" fmla="*/ 0 h 112"/>
                <a:gd name="T116" fmla="*/ 0 w 154"/>
                <a:gd name="T1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" h="112">
                  <a:moveTo>
                    <a:pt x="103" y="112"/>
                  </a:moveTo>
                  <a:cubicBezTo>
                    <a:pt x="154" y="112"/>
                    <a:pt x="154" y="112"/>
                    <a:pt x="154" y="11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40" y="99"/>
                    <a:pt x="140" y="99"/>
                    <a:pt x="140" y="99"/>
                  </a:cubicBezTo>
                  <a:cubicBezTo>
                    <a:pt x="103" y="99"/>
                    <a:pt x="103" y="99"/>
                    <a:pt x="103" y="99"/>
                  </a:cubicBezTo>
                  <a:lnTo>
                    <a:pt x="103" y="112"/>
                  </a:lnTo>
                  <a:close/>
                  <a:moveTo>
                    <a:pt x="70" y="112"/>
                  </a:moveTo>
                  <a:cubicBezTo>
                    <a:pt x="103" y="112"/>
                    <a:pt x="103" y="112"/>
                    <a:pt x="103" y="112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80" y="99"/>
                    <a:pt x="80" y="99"/>
                    <a:pt x="80" y="99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112"/>
                    <a:pt x="70" y="112"/>
                    <a:pt x="70" y="112"/>
                  </a:cubicBezTo>
                  <a:close/>
                  <a:moveTo>
                    <a:pt x="103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103" y="47"/>
                    <a:pt x="103" y="47"/>
                    <a:pt x="103" y="47"/>
                  </a:cubicBezTo>
                  <a:lnTo>
                    <a:pt x="103" y="0"/>
                  </a:lnTo>
                  <a:close/>
                  <a:moveTo>
                    <a:pt x="44" y="112"/>
                  </a:moveTo>
                  <a:cubicBezTo>
                    <a:pt x="70" y="112"/>
                    <a:pt x="70" y="112"/>
                    <a:pt x="70" y="112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7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21"/>
                    <a:pt x="47" y="24"/>
                    <a:pt x="47" y="27"/>
                  </a:cubicBezTo>
                  <a:cubicBezTo>
                    <a:pt x="47" y="30"/>
                    <a:pt x="46" y="32"/>
                    <a:pt x="44" y="3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70" y="72"/>
                    <a:pt x="70" y="72"/>
                    <a:pt x="70" y="72"/>
                  </a:cubicBezTo>
                  <a:lnTo>
                    <a:pt x="70" y="0"/>
                  </a:lnTo>
                  <a:close/>
                  <a:moveTo>
                    <a:pt x="0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2" y="37"/>
                    <a:pt x="38" y="39"/>
                    <a:pt x="35" y="39"/>
                  </a:cubicBezTo>
                  <a:cubicBezTo>
                    <a:pt x="28" y="39"/>
                    <a:pt x="22" y="34"/>
                    <a:pt x="22" y="27"/>
                  </a:cubicBezTo>
                  <a:cubicBezTo>
                    <a:pt x="22" y="20"/>
                    <a:pt x="28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8" y="15"/>
                    <a:pt x="42" y="17"/>
                    <a:pt x="44" y="1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7" name="任意多边形: 形状 1736"/>
            <p:cNvSpPr/>
            <p:nvPr>
              <p:custDataLst>
                <p:tags r:id="rId329"/>
              </p:custDataLst>
            </p:nvPr>
          </p:nvSpPr>
          <p:spPr bwMode="auto">
            <a:xfrm flipH="1">
              <a:off x="3445447" y="3669497"/>
              <a:ext cx="336446" cy="304319"/>
            </a:xfrm>
            <a:custGeom>
              <a:avLst/>
              <a:gdLst>
                <a:gd name="T0" fmla="*/ 80 w 156"/>
                <a:gd name="T1" fmla="*/ 147 h 150"/>
                <a:gd name="T2" fmla="*/ 107 w 156"/>
                <a:gd name="T3" fmla="*/ 145 h 150"/>
                <a:gd name="T4" fmla="*/ 133 w 156"/>
                <a:gd name="T5" fmla="*/ 104 h 150"/>
                <a:gd name="T6" fmla="*/ 156 w 156"/>
                <a:gd name="T7" fmla="*/ 0 h 150"/>
                <a:gd name="T8" fmla="*/ 80 w 156"/>
                <a:gd name="T9" fmla="*/ 17 h 150"/>
                <a:gd name="T10" fmla="*/ 80 w 156"/>
                <a:gd name="T11" fmla="*/ 32 h 150"/>
                <a:gd name="T12" fmla="*/ 136 w 156"/>
                <a:gd name="T13" fmla="*/ 20 h 150"/>
                <a:gd name="T14" fmla="*/ 119 w 156"/>
                <a:gd name="T15" fmla="*/ 97 h 150"/>
                <a:gd name="T16" fmla="*/ 105 w 156"/>
                <a:gd name="T17" fmla="*/ 127 h 150"/>
                <a:gd name="T18" fmla="*/ 80 w 156"/>
                <a:gd name="T19" fmla="*/ 130 h 150"/>
                <a:gd name="T20" fmla="*/ 80 w 156"/>
                <a:gd name="T21" fmla="*/ 147 h 150"/>
                <a:gd name="T22" fmla="*/ 80 w 156"/>
                <a:gd name="T23" fmla="*/ 111 h 150"/>
                <a:gd name="T24" fmla="*/ 80 w 156"/>
                <a:gd name="T25" fmla="*/ 96 h 150"/>
                <a:gd name="T26" fmla="*/ 107 w 156"/>
                <a:gd name="T27" fmla="*/ 96 h 150"/>
                <a:gd name="T28" fmla="*/ 103 w 156"/>
                <a:gd name="T29" fmla="*/ 109 h 150"/>
                <a:gd name="T30" fmla="*/ 96 w 156"/>
                <a:gd name="T31" fmla="*/ 111 h 150"/>
                <a:gd name="T32" fmla="*/ 80 w 156"/>
                <a:gd name="T33" fmla="*/ 111 h 150"/>
                <a:gd name="T34" fmla="*/ 80 w 156"/>
                <a:gd name="T35" fmla="*/ 86 h 150"/>
                <a:gd name="T36" fmla="*/ 80 w 156"/>
                <a:gd name="T37" fmla="*/ 45 h 150"/>
                <a:gd name="T38" fmla="*/ 88 w 156"/>
                <a:gd name="T39" fmla="*/ 43 h 150"/>
                <a:gd name="T40" fmla="*/ 88 w 156"/>
                <a:gd name="T41" fmla="*/ 58 h 150"/>
                <a:gd name="T42" fmla="*/ 105 w 156"/>
                <a:gd name="T43" fmla="*/ 41 h 150"/>
                <a:gd name="T44" fmla="*/ 121 w 156"/>
                <a:gd name="T45" fmla="*/ 35 h 150"/>
                <a:gd name="T46" fmla="*/ 115 w 156"/>
                <a:gd name="T47" fmla="*/ 51 h 150"/>
                <a:gd name="T48" fmla="*/ 98 w 156"/>
                <a:gd name="T49" fmla="*/ 68 h 150"/>
                <a:gd name="T50" fmla="*/ 113 w 156"/>
                <a:gd name="T51" fmla="*/ 68 h 150"/>
                <a:gd name="T52" fmla="*/ 109 w 156"/>
                <a:gd name="T53" fmla="*/ 83 h 150"/>
                <a:gd name="T54" fmla="*/ 96 w 156"/>
                <a:gd name="T55" fmla="*/ 84 h 150"/>
                <a:gd name="T56" fmla="*/ 82 w 156"/>
                <a:gd name="T57" fmla="*/ 84 h 150"/>
                <a:gd name="T58" fmla="*/ 80 w 156"/>
                <a:gd name="T59" fmla="*/ 86 h 150"/>
                <a:gd name="T60" fmla="*/ 19 w 156"/>
                <a:gd name="T61" fmla="*/ 137 h 150"/>
                <a:gd name="T62" fmla="*/ 24 w 156"/>
                <a:gd name="T63" fmla="*/ 142 h 150"/>
                <a:gd name="T64" fmla="*/ 50 w 156"/>
                <a:gd name="T65" fmla="*/ 116 h 150"/>
                <a:gd name="T66" fmla="*/ 80 w 156"/>
                <a:gd name="T67" fmla="*/ 147 h 150"/>
                <a:gd name="T68" fmla="*/ 80 w 156"/>
                <a:gd name="T69" fmla="*/ 130 h 150"/>
                <a:gd name="T70" fmla="*/ 67 w 156"/>
                <a:gd name="T71" fmla="*/ 111 h 150"/>
                <a:gd name="T72" fmla="*/ 80 w 156"/>
                <a:gd name="T73" fmla="*/ 111 h 150"/>
                <a:gd name="T74" fmla="*/ 80 w 156"/>
                <a:gd name="T75" fmla="*/ 96 h 150"/>
                <a:gd name="T76" fmla="*/ 70 w 156"/>
                <a:gd name="T77" fmla="*/ 96 h 150"/>
                <a:gd name="T78" fmla="*/ 80 w 156"/>
                <a:gd name="T79" fmla="*/ 86 h 150"/>
                <a:gd name="T80" fmla="*/ 80 w 156"/>
                <a:gd name="T81" fmla="*/ 45 h 150"/>
                <a:gd name="T82" fmla="*/ 73 w 156"/>
                <a:gd name="T83" fmla="*/ 47 h 150"/>
                <a:gd name="T84" fmla="*/ 72 w 156"/>
                <a:gd name="T85" fmla="*/ 61 h 150"/>
                <a:gd name="T86" fmla="*/ 72 w 156"/>
                <a:gd name="T87" fmla="*/ 74 h 150"/>
                <a:gd name="T88" fmla="*/ 60 w 156"/>
                <a:gd name="T89" fmla="*/ 86 h 150"/>
                <a:gd name="T90" fmla="*/ 60 w 156"/>
                <a:gd name="T91" fmla="*/ 49 h 150"/>
                <a:gd name="T92" fmla="*/ 47 w 156"/>
                <a:gd name="T93" fmla="*/ 53 h 150"/>
                <a:gd name="T94" fmla="*/ 45 w 156"/>
                <a:gd name="T95" fmla="*/ 60 h 150"/>
                <a:gd name="T96" fmla="*/ 45 w 156"/>
                <a:gd name="T97" fmla="*/ 89 h 150"/>
                <a:gd name="T98" fmla="*/ 29 w 156"/>
                <a:gd name="T99" fmla="*/ 51 h 150"/>
                <a:gd name="T100" fmla="*/ 29 w 156"/>
                <a:gd name="T101" fmla="*/ 51 h 150"/>
                <a:gd name="T102" fmla="*/ 59 w 156"/>
                <a:gd name="T103" fmla="*/ 38 h 150"/>
                <a:gd name="T104" fmla="*/ 80 w 156"/>
                <a:gd name="T105" fmla="*/ 32 h 150"/>
                <a:gd name="T106" fmla="*/ 80 w 156"/>
                <a:gd name="T107" fmla="*/ 17 h 150"/>
                <a:gd name="T108" fmla="*/ 52 w 156"/>
                <a:gd name="T109" fmla="*/ 24 h 150"/>
                <a:gd name="T110" fmla="*/ 11 w 156"/>
                <a:gd name="T111" fmla="*/ 49 h 150"/>
                <a:gd name="T112" fmla="*/ 40 w 156"/>
                <a:gd name="T113" fmla="*/ 106 h 150"/>
                <a:gd name="T114" fmla="*/ 14 w 156"/>
                <a:gd name="T115" fmla="*/ 132 h 150"/>
                <a:gd name="T116" fmla="*/ 19 w 156"/>
                <a:gd name="T117" fmla="*/ 13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150">
                  <a:moveTo>
                    <a:pt x="80" y="147"/>
                  </a:moveTo>
                  <a:cubicBezTo>
                    <a:pt x="88" y="150"/>
                    <a:pt x="98" y="149"/>
                    <a:pt x="107" y="145"/>
                  </a:cubicBezTo>
                  <a:cubicBezTo>
                    <a:pt x="124" y="137"/>
                    <a:pt x="128" y="121"/>
                    <a:pt x="133" y="104"/>
                  </a:cubicBezTo>
                  <a:cubicBezTo>
                    <a:pt x="141" y="70"/>
                    <a:pt x="149" y="35"/>
                    <a:pt x="156" y="0"/>
                  </a:cubicBezTo>
                  <a:cubicBezTo>
                    <a:pt x="130" y="5"/>
                    <a:pt x="105" y="11"/>
                    <a:pt x="80" y="17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99" y="27"/>
                    <a:pt x="118" y="23"/>
                    <a:pt x="136" y="20"/>
                  </a:cubicBezTo>
                  <a:cubicBezTo>
                    <a:pt x="132" y="46"/>
                    <a:pt x="125" y="72"/>
                    <a:pt x="119" y="97"/>
                  </a:cubicBezTo>
                  <a:cubicBezTo>
                    <a:pt x="116" y="108"/>
                    <a:pt x="114" y="120"/>
                    <a:pt x="105" y="127"/>
                  </a:cubicBezTo>
                  <a:cubicBezTo>
                    <a:pt x="97" y="133"/>
                    <a:pt x="88" y="134"/>
                    <a:pt x="80" y="130"/>
                  </a:cubicBezTo>
                  <a:cubicBezTo>
                    <a:pt x="80" y="147"/>
                    <a:pt x="80" y="147"/>
                    <a:pt x="80" y="147"/>
                  </a:cubicBezTo>
                  <a:close/>
                  <a:moveTo>
                    <a:pt x="80" y="111"/>
                  </a:moveTo>
                  <a:cubicBezTo>
                    <a:pt x="80" y="96"/>
                    <a:pt x="80" y="96"/>
                    <a:pt x="80" y="9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6" y="100"/>
                    <a:pt x="104" y="105"/>
                    <a:pt x="103" y="109"/>
                  </a:cubicBezTo>
                  <a:cubicBezTo>
                    <a:pt x="102" y="112"/>
                    <a:pt x="99" y="111"/>
                    <a:pt x="96" y="111"/>
                  </a:cubicBezTo>
                  <a:cubicBezTo>
                    <a:pt x="80" y="111"/>
                    <a:pt x="80" y="111"/>
                    <a:pt x="80" y="111"/>
                  </a:cubicBezTo>
                  <a:close/>
                  <a:moveTo>
                    <a:pt x="80" y="86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94" y="52"/>
                    <a:pt x="100" y="46"/>
                    <a:pt x="105" y="41"/>
                  </a:cubicBezTo>
                  <a:cubicBezTo>
                    <a:pt x="110" y="36"/>
                    <a:pt x="115" y="36"/>
                    <a:pt x="121" y="35"/>
                  </a:cubicBezTo>
                  <a:cubicBezTo>
                    <a:pt x="120" y="41"/>
                    <a:pt x="120" y="47"/>
                    <a:pt x="115" y="51"/>
                  </a:cubicBezTo>
                  <a:cubicBezTo>
                    <a:pt x="110" y="57"/>
                    <a:pt x="104" y="62"/>
                    <a:pt x="98" y="68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2" y="73"/>
                    <a:pt x="111" y="78"/>
                    <a:pt x="109" y="83"/>
                  </a:cubicBezTo>
                  <a:cubicBezTo>
                    <a:pt x="108" y="85"/>
                    <a:pt x="98" y="84"/>
                    <a:pt x="96" y="84"/>
                  </a:cubicBezTo>
                  <a:cubicBezTo>
                    <a:pt x="93" y="84"/>
                    <a:pt x="84" y="83"/>
                    <a:pt x="82" y="84"/>
                  </a:cubicBezTo>
                  <a:lnTo>
                    <a:pt x="80" y="86"/>
                  </a:lnTo>
                  <a:close/>
                  <a:moveTo>
                    <a:pt x="19" y="137"/>
                  </a:moveTo>
                  <a:cubicBezTo>
                    <a:pt x="24" y="142"/>
                    <a:pt x="24" y="142"/>
                    <a:pt x="24" y="142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4" y="131"/>
                    <a:pt x="66" y="143"/>
                    <a:pt x="80" y="147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73" y="127"/>
                    <a:pt x="67" y="120"/>
                    <a:pt x="67" y="111"/>
                  </a:cubicBezTo>
                  <a:cubicBezTo>
                    <a:pt x="80" y="111"/>
                    <a:pt x="80" y="111"/>
                    <a:pt x="80" y="111"/>
                  </a:cubicBezTo>
                  <a:cubicBezTo>
                    <a:pt x="80" y="96"/>
                    <a:pt x="80" y="96"/>
                    <a:pt x="80" y="9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1" y="48"/>
                    <a:pt x="72" y="59"/>
                    <a:pt x="72" y="61"/>
                  </a:cubicBezTo>
                  <a:cubicBezTo>
                    <a:pt x="72" y="63"/>
                    <a:pt x="74" y="72"/>
                    <a:pt x="72" y="74"/>
                  </a:cubicBezTo>
                  <a:cubicBezTo>
                    <a:pt x="68" y="78"/>
                    <a:pt x="64" y="82"/>
                    <a:pt x="60" y="86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6" y="50"/>
                    <a:pt x="51" y="52"/>
                    <a:pt x="47" y="53"/>
                  </a:cubicBezTo>
                  <a:cubicBezTo>
                    <a:pt x="44" y="54"/>
                    <a:pt x="45" y="57"/>
                    <a:pt x="45" y="60"/>
                  </a:cubicBezTo>
                  <a:cubicBezTo>
                    <a:pt x="45" y="70"/>
                    <a:pt x="45" y="80"/>
                    <a:pt x="45" y="89"/>
                  </a:cubicBezTo>
                  <a:cubicBezTo>
                    <a:pt x="26" y="88"/>
                    <a:pt x="17" y="66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36" y="42"/>
                    <a:pt x="48" y="40"/>
                    <a:pt x="59" y="38"/>
                  </a:cubicBezTo>
                  <a:cubicBezTo>
                    <a:pt x="66" y="36"/>
                    <a:pt x="73" y="34"/>
                    <a:pt x="80" y="32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1" y="19"/>
                    <a:pt x="62" y="21"/>
                    <a:pt x="52" y="24"/>
                  </a:cubicBezTo>
                  <a:cubicBezTo>
                    <a:pt x="36" y="28"/>
                    <a:pt x="19" y="32"/>
                    <a:pt x="11" y="49"/>
                  </a:cubicBezTo>
                  <a:cubicBezTo>
                    <a:pt x="0" y="73"/>
                    <a:pt x="16" y="100"/>
                    <a:pt x="40" y="106"/>
                  </a:cubicBezTo>
                  <a:cubicBezTo>
                    <a:pt x="14" y="132"/>
                    <a:pt x="14" y="132"/>
                    <a:pt x="14" y="132"/>
                  </a:cubicBezTo>
                  <a:lnTo>
                    <a:pt x="19" y="13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8" name="任意多边形: 形状 1737"/>
            <p:cNvSpPr/>
            <p:nvPr>
              <p:custDataLst>
                <p:tags r:id="rId330"/>
              </p:custDataLst>
            </p:nvPr>
          </p:nvSpPr>
          <p:spPr bwMode="auto">
            <a:xfrm flipH="1">
              <a:off x="2275634" y="4846369"/>
              <a:ext cx="34648" cy="104019"/>
            </a:xfrm>
            <a:custGeom>
              <a:avLst/>
              <a:gdLst>
                <a:gd name="T0" fmla="*/ 16 w 16"/>
                <a:gd name="T1" fmla="*/ 51 h 51"/>
                <a:gd name="T2" fmla="*/ 16 w 16"/>
                <a:gd name="T3" fmla="*/ 0 h 51"/>
                <a:gd name="T4" fmla="*/ 8 w 16"/>
                <a:gd name="T5" fmla="*/ 0 h 51"/>
                <a:gd name="T6" fmla="*/ 0 w 16"/>
                <a:gd name="T7" fmla="*/ 0 h 51"/>
                <a:gd name="T8" fmla="*/ 0 w 16"/>
                <a:gd name="T9" fmla="*/ 51 h 51"/>
                <a:gd name="T10" fmla="*/ 8 w 16"/>
                <a:gd name="T11" fmla="*/ 51 h 51"/>
                <a:gd name="T12" fmla="*/ 16 w 16"/>
                <a:gd name="T1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1">
                  <a:moveTo>
                    <a:pt x="16" y="5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3" y="0"/>
                    <a:pt x="11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" y="51"/>
                    <a:pt x="5" y="51"/>
                    <a:pt x="8" y="51"/>
                  </a:cubicBezTo>
                  <a:cubicBezTo>
                    <a:pt x="11" y="51"/>
                    <a:pt x="13" y="51"/>
                    <a:pt x="16" y="5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39" name="任意多边形: 形状 1738"/>
            <p:cNvSpPr/>
            <p:nvPr>
              <p:custDataLst>
                <p:tags r:id="rId331"/>
              </p:custDataLst>
            </p:nvPr>
          </p:nvSpPr>
          <p:spPr bwMode="auto">
            <a:xfrm flipH="1">
              <a:off x="2133397" y="4612542"/>
              <a:ext cx="319123" cy="223511"/>
            </a:xfrm>
            <a:custGeom>
              <a:avLst/>
              <a:gdLst>
                <a:gd name="T0" fmla="*/ 148 w 148"/>
                <a:gd name="T1" fmla="*/ 36 h 110"/>
                <a:gd name="T2" fmla="*/ 138 w 148"/>
                <a:gd name="T3" fmla="*/ 0 h 110"/>
                <a:gd name="T4" fmla="*/ 106 w 148"/>
                <a:gd name="T5" fmla="*/ 18 h 110"/>
                <a:gd name="T6" fmla="*/ 74 w 148"/>
                <a:gd name="T7" fmla="*/ 0 h 110"/>
                <a:gd name="T8" fmla="*/ 42 w 148"/>
                <a:gd name="T9" fmla="*/ 18 h 110"/>
                <a:gd name="T10" fmla="*/ 10 w 148"/>
                <a:gd name="T11" fmla="*/ 0 h 110"/>
                <a:gd name="T12" fmla="*/ 0 w 148"/>
                <a:gd name="T13" fmla="*/ 36 h 110"/>
                <a:gd name="T14" fmla="*/ 66 w 148"/>
                <a:gd name="T15" fmla="*/ 110 h 110"/>
                <a:gd name="T16" fmla="*/ 74 w 148"/>
                <a:gd name="T17" fmla="*/ 110 h 110"/>
                <a:gd name="T18" fmla="*/ 82 w 148"/>
                <a:gd name="T19" fmla="*/ 110 h 110"/>
                <a:gd name="T20" fmla="*/ 148 w 148"/>
                <a:gd name="T21" fmla="*/ 3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110">
                  <a:moveTo>
                    <a:pt x="148" y="36"/>
                  </a:moveTo>
                  <a:cubicBezTo>
                    <a:pt x="148" y="23"/>
                    <a:pt x="144" y="11"/>
                    <a:pt x="138" y="0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11"/>
                    <a:pt x="0" y="23"/>
                    <a:pt x="0" y="36"/>
                  </a:cubicBezTo>
                  <a:cubicBezTo>
                    <a:pt x="0" y="74"/>
                    <a:pt x="29" y="106"/>
                    <a:pt x="66" y="110"/>
                  </a:cubicBezTo>
                  <a:cubicBezTo>
                    <a:pt x="69" y="110"/>
                    <a:pt x="71" y="110"/>
                    <a:pt x="74" y="110"/>
                  </a:cubicBezTo>
                  <a:cubicBezTo>
                    <a:pt x="77" y="110"/>
                    <a:pt x="79" y="110"/>
                    <a:pt x="82" y="110"/>
                  </a:cubicBezTo>
                  <a:cubicBezTo>
                    <a:pt x="119" y="106"/>
                    <a:pt x="148" y="74"/>
                    <a:pt x="148" y="3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0" name="任意多边形: 形状 1739"/>
            <p:cNvSpPr/>
            <p:nvPr>
              <p:custDataLst>
                <p:tags r:id="rId332"/>
              </p:custDataLst>
            </p:nvPr>
          </p:nvSpPr>
          <p:spPr bwMode="auto">
            <a:xfrm flipH="1">
              <a:off x="2319400" y="4850667"/>
              <a:ext cx="66560" cy="62755"/>
            </a:xfrm>
            <a:custGeom>
              <a:avLst/>
              <a:gdLst>
                <a:gd name="T0" fmla="*/ 30 w 31"/>
                <a:gd name="T1" fmla="*/ 29 h 31"/>
                <a:gd name="T2" fmla="*/ 23 w 31"/>
                <a:gd name="T3" fmla="*/ 8 h 31"/>
                <a:gd name="T4" fmla="*/ 2 w 31"/>
                <a:gd name="T5" fmla="*/ 1 h 31"/>
                <a:gd name="T6" fmla="*/ 8 w 31"/>
                <a:gd name="T7" fmla="*/ 23 h 31"/>
                <a:gd name="T8" fmla="*/ 30 w 31"/>
                <a:gd name="T9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30" y="29"/>
                  </a:moveTo>
                  <a:cubicBezTo>
                    <a:pt x="31" y="22"/>
                    <a:pt x="29" y="14"/>
                    <a:pt x="23" y="8"/>
                  </a:cubicBezTo>
                  <a:cubicBezTo>
                    <a:pt x="17" y="2"/>
                    <a:pt x="9" y="0"/>
                    <a:pt x="2" y="1"/>
                  </a:cubicBezTo>
                  <a:cubicBezTo>
                    <a:pt x="0" y="9"/>
                    <a:pt x="3" y="17"/>
                    <a:pt x="8" y="23"/>
                  </a:cubicBezTo>
                  <a:cubicBezTo>
                    <a:pt x="14" y="28"/>
                    <a:pt x="22" y="31"/>
                    <a:pt x="30" y="2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1" name="任意多边形: 形状 1740"/>
            <p:cNvSpPr/>
            <p:nvPr>
              <p:custDataLst>
                <p:tags r:id="rId333"/>
              </p:custDataLst>
            </p:nvPr>
          </p:nvSpPr>
          <p:spPr bwMode="auto">
            <a:xfrm flipH="1">
              <a:off x="2200869" y="4850667"/>
              <a:ext cx="66560" cy="62755"/>
            </a:xfrm>
            <a:custGeom>
              <a:avLst/>
              <a:gdLst>
                <a:gd name="T0" fmla="*/ 23 w 31"/>
                <a:gd name="T1" fmla="*/ 23 h 31"/>
                <a:gd name="T2" fmla="*/ 29 w 31"/>
                <a:gd name="T3" fmla="*/ 1 h 31"/>
                <a:gd name="T4" fmla="*/ 8 w 31"/>
                <a:gd name="T5" fmla="*/ 8 h 31"/>
                <a:gd name="T6" fmla="*/ 1 w 31"/>
                <a:gd name="T7" fmla="*/ 29 h 31"/>
                <a:gd name="T8" fmla="*/ 23 w 31"/>
                <a:gd name="T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3" y="23"/>
                  </a:moveTo>
                  <a:cubicBezTo>
                    <a:pt x="29" y="17"/>
                    <a:pt x="31" y="9"/>
                    <a:pt x="29" y="1"/>
                  </a:cubicBezTo>
                  <a:cubicBezTo>
                    <a:pt x="22" y="0"/>
                    <a:pt x="14" y="2"/>
                    <a:pt x="8" y="8"/>
                  </a:cubicBezTo>
                  <a:cubicBezTo>
                    <a:pt x="2" y="14"/>
                    <a:pt x="0" y="22"/>
                    <a:pt x="1" y="29"/>
                  </a:cubicBezTo>
                  <a:cubicBezTo>
                    <a:pt x="9" y="31"/>
                    <a:pt x="17" y="28"/>
                    <a:pt x="23" y="2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2" name="任意多边形: 形状 1741"/>
            <p:cNvSpPr/>
            <p:nvPr>
              <p:custDataLst>
                <p:tags r:id="rId334"/>
              </p:custDataLst>
            </p:nvPr>
          </p:nvSpPr>
          <p:spPr bwMode="auto">
            <a:xfrm flipH="1">
              <a:off x="2200869" y="4959844"/>
              <a:ext cx="185091" cy="51579"/>
            </a:xfrm>
            <a:custGeom>
              <a:avLst/>
              <a:gdLst>
                <a:gd name="T0" fmla="*/ 51 w 86"/>
                <a:gd name="T1" fmla="*/ 0 h 25"/>
                <a:gd name="T2" fmla="*/ 43 w 86"/>
                <a:gd name="T3" fmla="*/ 0 h 25"/>
                <a:gd name="T4" fmla="*/ 35 w 86"/>
                <a:gd name="T5" fmla="*/ 0 h 25"/>
                <a:gd name="T6" fmla="*/ 0 w 86"/>
                <a:gd name="T7" fmla="*/ 25 h 25"/>
                <a:gd name="T8" fmla="*/ 86 w 86"/>
                <a:gd name="T9" fmla="*/ 25 h 25"/>
                <a:gd name="T10" fmla="*/ 51 w 86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25">
                  <a:moveTo>
                    <a:pt x="51" y="0"/>
                  </a:moveTo>
                  <a:cubicBezTo>
                    <a:pt x="48" y="0"/>
                    <a:pt x="46" y="0"/>
                    <a:pt x="43" y="0"/>
                  </a:cubicBezTo>
                  <a:cubicBezTo>
                    <a:pt x="40" y="0"/>
                    <a:pt x="38" y="0"/>
                    <a:pt x="35" y="0"/>
                  </a:cubicBezTo>
                  <a:cubicBezTo>
                    <a:pt x="15" y="2"/>
                    <a:pt x="0" y="13"/>
                    <a:pt x="0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13"/>
                    <a:pt x="71" y="2"/>
                    <a:pt x="51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3" name="任意多边形: 形状 1742"/>
            <p:cNvSpPr/>
            <p:nvPr>
              <p:custDataLst>
                <p:tags r:id="rId335"/>
              </p:custDataLst>
            </p:nvPr>
          </p:nvSpPr>
          <p:spPr bwMode="auto">
            <a:xfrm flipH="1">
              <a:off x="3695274" y="3065157"/>
              <a:ext cx="186003" cy="132387"/>
            </a:xfrm>
            <a:custGeom>
              <a:avLst/>
              <a:gdLst>
                <a:gd name="T0" fmla="*/ 43 w 86"/>
                <a:gd name="T1" fmla="*/ 0 h 65"/>
                <a:gd name="T2" fmla="*/ 0 w 86"/>
                <a:gd name="T3" fmla="*/ 44 h 65"/>
                <a:gd name="T4" fmla="*/ 5 w 86"/>
                <a:gd name="T5" fmla="*/ 64 h 65"/>
                <a:gd name="T6" fmla="*/ 5 w 86"/>
                <a:gd name="T7" fmla="*/ 53 h 65"/>
                <a:gd name="T8" fmla="*/ 7 w 86"/>
                <a:gd name="T9" fmla="*/ 47 h 65"/>
                <a:gd name="T10" fmla="*/ 7 w 86"/>
                <a:gd name="T11" fmla="*/ 44 h 65"/>
                <a:gd name="T12" fmla="*/ 43 w 86"/>
                <a:gd name="T13" fmla="*/ 7 h 65"/>
                <a:gd name="T14" fmla="*/ 79 w 86"/>
                <a:gd name="T15" fmla="*/ 44 h 65"/>
                <a:gd name="T16" fmla="*/ 79 w 86"/>
                <a:gd name="T17" fmla="*/ 47 h 65"/>
                <a:gd name="T18" fmla="*/ 80 w 86"/>
                <a:gd name="T19" fmla="*/ 53 h 65"/>
                <a:gd name="T20" fmla="*/ 80 w 86"/>
                <a:gd name="T21" fmla="*/ 65 h 65"/>
                <a:gd name="T22" fmla="*/ 86 w 86"/>
                <a:gd name="T23" fmla="*/ 44 h 65"/>
                <a:gd name="T24" fmla="*/ 43 w 86"/>
                <a:gd name="T2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" h="65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51"/>
                    <a:pt x="1" y="58"/>
                    <a:pt x="5" y="64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1"/>
                    <a:pt x="6" y="49"/>
                    <a:pt x="7" y="47"/>
                  </a:cubicBezTo>
                  <a:cubicBezTo>
                    <a:pt x="7" y="46"/>
                    <a:pt x="7" y="45"/>
                    <a:pt x="7" y="44"/>
                  </a:cubicBezTo>
                  <a:cubicBezTo>
                    <a:pt x="7" y="24"/>
                    <a:pt x="23" y="7"/>
                    <a:pt x="43" y="7"/>
                  </a:cubicBezTo>
                  <a:cubicBezTo>
                    <a:pt x="63" y="7"/>
                    <a:pt x="79" y="24"/>
                    <a:pt x="79" y="44"/>
                  </a:cubicBezTo>
                  <a:cubicBezTo>
                    <a:pt x="79" y="45"/>
                    <a:pt x="79" y="46"/>
                    <a:pt x="79" y="47"/>
                  </a:cubicBezTo>
                  <a:cubicBezTo>
                    <a:pt x="80" y="49"/>
                    <a:pt x="80" y="51"/>
                    <a:pt x="80" y="53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4" y="58"/>
                    <a:pt x="86" y="51"/>
                    <a:pt x="86" y="44"/>
                  </a:cubicBezTo>
                  <a:cubicBezTo>
                    <a:pt x="86" y="20"/>
                    <a:pt x="67" y="0"/>
                    <a:pt x="43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4" name="任意多边形: 形状 1743"/>
            <p:cNvSpPr/>
            <p:nvPr>
              <p:custDataLst>
                <p:tags r:id="rId336"/>
              </p:custDataLst>
            </p:nvPr>
          </p:nvSpPr>
          <p:spPr bwMode="auto">
            <a:xfrm flipH="1">
              <a:off x="3824747" y="3154560"/>
              <a:ext cx="41030" cy="69633"/>
            </a:xfrm>
            <a:custGeom>
              <a:avLst/>
              <a:gdLst>
                <a:gd name="T0" fmla="*/ 0 w 19"/>
                <a:gd name="T1" fmla="*/ 7 h 34"/>
                <a:gd name="T2" fmla="*/ 0 w 19"/>
                <a:gd name="T3" fmla="*/ 9 h 34"/>
                <a:gd name="T4" fmla="*/ 0 w 19"/>
                <a:gd name="T5" fmla="*/ 20 h 34"/>
                <a:gd name="T6" fmla="*/ 0 w 19"/>
                <a:gd name="T7" fmla="*/ 25 h 34"/>
                <a:gd name="T8" fmla="*/ 13 w 19"/>
                <a:gd name="T9" fmla="*/ 34 h 34"/>
                <a:gd name="T10" fmla="*/ 19 w 19"/>
                <a:gd name="T11" fmla="*/ 34 h 34"/>
                <a:gd name="T12" fmla="*/ 19 w 19"/>
                <a:gd name="T13" fmla="*/ 0 h 34"/>
                <a:gd name="T14" fmla="*/ 13 w 19"/>
                <a:gd name="T15" fmla="*/ 0 h 34"/>
                <a:gd name="T16" fmla="*/ 0 w 19"/>
                <a:gd name="T17" fmla="*/ 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4">
                  <a:moveTo>
                    <a:pt x="0" y="7"/>
                  </a:moveTo>
                  <a:cubicBezTo>
                    <a:pt x="0" y="8"/>
                    <a:pt x="0" y="8"/>
                    <a:pt x="0" y="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0"/>
                    <a:pt x="6" y="34"/>
                    <a:pt x="13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7" y="0"/>
                    <a:pt x="2" y="3"/>
                    <a:pt x="0" y="7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5" name="任意多边形: 形状 1744"/>
            <p:cNvSpPr/>
            <p:nvPr>
              <p:custDataLst>
                <p:tags r:id="rId337"/>
              </p:custDataLst>
            </p:nvPr>
          </p:nvSpPr>
          <p:spPr bwMode="auto">
            <a:xfrm flipH="1">
              <a:off x="3712598" y="3154560"/>
              <a:ext cx="41030" cy="69633"/>
            </a:xfrm>
            <a:custGeom>
              <a:avLst/>
              <a:gdLst>
                <a:gd name="T0" fmla="*/ 19 w 19"/>
                <a:gd name="T1" fmla="*/ 25 h 34"/>
                <a:gd name="T2" fmla="*/ 19 w 19"/>
                <a:gd name="T3" fmla="*/ 20 h 34"/>
                <a:gd name="T4" fmla="*/ 19 w 19"/>
                <a:gd name="T5" fmla="*/ 9 h 34"/>
                <a:gd name="T6" fmla="*/ 19 w 19"/>
                <a:gd name="T7" fmla="*/ 8 h 34"/>
                <a:gd name="T8" fmla="*/ 6 w 19"/>
                <a:gd name="T9" fmla="*/ 0 h 34"/>
                <a:gd name="T10" fmla="*/ 0 w 19"/>
                <a:gd name="T11" fmla="*/ 0 h 34"/>
                <a:gd name="T12" fmla="*/ 0 w 19"/>
                <a:gd name="T13" fmla="*/ 34 h 34"/>
                <a:gd name="T14" fmla="*/ 6 w 19"/>
                <a:gd name="T15" fmla="*/ 34 h 34"/>
                <a:gd name="T16" fmla="*/ 19 w 19"/>
                <a:gd name="T17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4">
                  <a:moveTo>
                    <a:pt x="19" y="25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3"/>
                    <a:pt x="13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13" y="34"/>
                    <a:pt x="19" y="30"/>
                    <a:pt x="19" y="25"/>
                  </a:cubicBezTo>
                  <a:close/>
                </a:path>
              </a:pathLst>
            </a:custGeom>
            <a:solidFill>
              <a:schemeClr val="accent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6" name="任意多边形: 形状 1745"/>
            <p:cNvSpPr/>
            <p:nvPr>
              <p:custDataLst>
                <p:tags r:id="rId338"/>
              </p:custDataLst>
            </p:nvPr>
          </p:nvSpPr>
          <p:spPr bwMode="auto">
            <a:xfrm flipH="1">
              <a:off x="2684740" y="1994023"/>
              <a:ext cx="295416" cy="276811"/>
            </a:xfrm>
            <a:custGeom>
              <a:avLst/>
              <a:gdLst>
                <a:gd name="T0" fmla="*/ 137 w 137"/>
                <a:gd name="T1" fmla="*/ 68 h 136"/>
                <a:gd name="T2" fmla="*/ 122 w 137"/>
                <a:gd name="T3" fmla="*/ 64 h 136"/>
                <a:gd name="T4" fmla="*/ 131 w 137"/>
                <a:gd name="T5" fmla="*/ 64 h 136"/>
                <a:gd name="T6" fmla="*/ 122 w 137"/>
                <a:gd name="T7" fmla="*/ 72 h 136"/>
                <a:gd name="T8" fmla="*/ 106 w 137"/>
                <a:gd name="T9" fmla="*/ 125 h 136"/>
                <a:gd name="T10" fmla="*/ 122 w 137"/>
                <a:gd name="T11" fmla="*/ 72 h 136"/>
                <a:gd name="T12" fmla="*/ 113 w 137"/>
                <a:gd name="T13" fmla="*/ 64 h 136"/>
                <a:gd name="T14" fmla="*/ 122 w 137"/>
                <a:gd name="T15" fmla="*/ 25 h 136"/>
                <a:gd name="T16" fmla="*/ 106 w 137"/>
                <a:gd name="T17" fmla="*/ 25 h 136"/>
                <a:gd name="T18" fmla="*/ 110 w 137"/>
                <a:gd name="T19" fmla="*/ 21 h 136"/>
                <a:gd name="T20" fmla="*/ 106 w 137"/>
                <a:gd name="T21" fmla="*/ 36 h 136"/>
                <a:gd name="T22" fmla="*/ 115 w 137"/>
                <a:gd name="T23" fmla="*/ 109 h 136"/>
                <a:gd name="T24" fmla="*/ 106 w 137"/>
                <a:gd name="T25" fmla="*/ 111 h 136"/>
                <a:gd name="T26" fmla="*/ 68 w 137"/>
                <a:gd name="T27" fmla="*/ 136 h 136"/>
                <a:gd name="T28" fmla="*/ 106 w 137"/>
                <a:gd name="T29" fmla="*/ 111 h 136"/>
                <a:gd name="T30" fmla="*/ 102 w 137"/>
                <a:gd name="T31" fmla="*/ 97 h 136"/>
                <a:gd name="T32" fmla="*/ 106 w 137"/>
                <a:gd name="T33" fmla="*/ 100 h 136"/>
                <a:gd name="T34" fmla="*/ 102 w 137"/>
                <a:gd name="T35" fmla="*/ 39 h 136"/>
                <a:gd name="T36" fmla="*/ 106 w 137"/>
                <a:gd name="T37" fmla="*/ 25 h 136"/>
                <a:gd name="T38" fmla="*/ 68 w 137"/>
                <a:gd name="T39" fmla="*/ 0 h 136"/>
                <a:gd name="T40" fmla="*/ 68 w 137"/>
                <a:gd name="T41" fmla="*/ 5 h 136"/>
                <a:gd name="T42" fmla="*/ 72 w 137"/>
                <a:gd name="T43" fmla="*/ 24 h 136"/>
                <a:gd name="T44" fmla="*/ 68 w 137"/>
                <a:gd name="T45" fmla="*/ 63 h 136"/>
                <a:gd name="T46" fmla="*/ 90 w 137"/>
                <a:gd name="T47" fmla="*/ 42 h 136"/>
                <a:gd name="T48" fmla="*/ 69 w 137"/>
                <a:gd name="T49" fmla="*/ 74 h 136"/>
                <a:gd name="T50" fmla="*/ 68 w 137"/>
                <a:gd name="T51" fmla="*/ 112 h 136"/>
                <a:gd name="T52" fmla="*/ 72 w 137"/>
                <a:gd name="T53" fmla="*/ 131 h 136"/>
                <a:gd name="T54" fmla="*/ 68 w 137"/>
                <a:gd name="T55" fmla="*/ 131 h 136"/>
                <a:gd name="T56" fmla="*/ 68 w 137"/>
                <a:gd name="T57" fmla="*/ 0 h 136"/>
                <a:gd name="T58" fmla="*/ 30 w 137"/>
                <a:gd name="T59" fmla="*/ 25 h 136"/>
                <a:gd name="T60" fmla="*/ 34 w 137"/>
                <a:gd name="T61" fmla="*/ 39 h 136"/>
                <a:gd name="T62" fmla="*/ 30 w 137"/>
                <a:gd name="T63" fmla="*/ 100 h 136"/>
                <a:gd name="T64" fmla="*/ 40 w 137"/>
                <a:gd name="T65" fmla="*/ 102 h 136"/>
                <a:gd name="T66" fmla="*/ 30 w 137"/>
                <a:gd name="T67" fmla="*/ 125 h 136"/>
                <a:gd name="T68" fmla="*/ 68 w 137"/>
                <a:gd name="T69" fmla="*/ 131 h 136"/>
                <a:gd name="T70" fmla="*/ 64 w 137"/>
                <a:gd name="T71" fmla="*/ 112 h 136"/>
                <a:gd name="T72" fmla="*/ 68 w 137"/>
                <a:gd name="T73" fmla="*/ 74 h 136"/>
                <a:gd name="T74" fmla="*/ 57 w 137"/>
                <a:gd name="T75" fmla="*/ 52 h 136"/>
                <a:gd name="T76" fmla="*/ 68 w 137"/>
                <a:gd name="T77" fmla="*/ 63 h 136"/>
                <a:gd name="T78" fmla="*/ 64 w 137"/>
                <a:gd name="T79" fmla="*/ 24 h 136"/>
                <a:gd name="T80" fmla="*/ 64 w 137"/>
                <a:gd name="T81" fmla="*/ 5 h 136"/>
                <a:gd name="T82" fmla="*/ 68 w 137"/>
                <a:gd name="T83" fmla="*/ 0 h 136"/>
                <a:gd name="T84" fmla="*/ 15 w 137"/>
                <a:gd name="T85" fmla="*/ 25 h 136"/>
                <a:gd name="T86" fmla="*/ 24 w 137"/>
                <a:gd name="T87" fmla="*/ 64 h 136"/>
                <a:gd name="T88" fmla="*/ 24 w 137"/>
                <a:gd name="T89" fmla="*/ 72 h 136"/>
                <a:gd name="T90" fmla="*/ 15 w 137"/>
                <a:gd name="T91" fmla="*/ 111 h 136"/>
                <a:gd name="T92" fmla="*/ 30 w 137"/>
                <a:gd name="T93" fmla="*/ 111 h 136"/>
                <a:gd name="T94" fmla="*/ 27 w 137"/>
                <a:gd name="T95" fmla="*/ 115 h 136"/>
                <a:gd name="T96" fmla="*/ 30 w 137"/>
                <a:gd name="T97" fmla="*/ 100 h 136"/>
                <a:gd name="T98" fmla="*/ 21 w 137"/>
                <a:gd name="T99" fmla="*/ 27 h 136"/>
                <a:gd name="T100" fmla="*/ 27 w 137"/>
                <a:gd name="T101" fmla="*/ 21 h 136"/>
                <a:gd name="T102" fmla="*/ 30 w 137"/>
                <a:gd name="T103" fmla="*/ 11 h 136"/>
                <a:gd name="T104" fmla="*/ 0 w 137"/>
                <a:gd name="T105" fmla="*/ 68 h 136"/>
                <a:gd name="T106" fmla="*/ 15 w 137"/>
                <a:gd name="T107" fmla="*/ 72 h 136"/>
                <a:gd name="T108" fmla="*/ 6 w 137"/>
                <a:gd name="T109" fmla="*/ 64 h 136"/>
                <a:gd name="T110" fmla="*/ 15 w 137"/>
                <a:gd name="T111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7" h="136">
                  <a:moveTo>
                    <a:pt x="122" y="111"/>
                  </a:moveTo>
                  <a:cubicBezTo>
                    <a:pt x="131" y="99"/>
                    <a:pt x="137" y="84"/>
                    <a:pt x="137" y="68"/>
                  </a:cubicBezTo>
                  <a:cubicBezTo>
                    <a:pt x="137" y="52"/>
                    <a:pt x="131" y="37"/>
                    <a:pt x="122" y="25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22" y="72"/>
                    <a:pt x="122" y="72"/>
                    <a:pt x="122" y="72"/>
                  </a:cubicBezTo>
                  <a:lnTo>
                    <a:pt x="122" y="111"/>
                  </a:lnTo>
                  <a:close/>
                  <a:moveTo>
                    <a:pt x="106" y="125"/>
                  </a:moveTo>
                  <a:cubicBezTo>
                    <a:pt x="112" y="121"/>
                    <a:pt x="117" y="116"/>
                    <a:pt x="122" y="111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2" y="25"/>
                    <a:pt x="122" y="25"/>
                    <a:pt x="122" y="25"/>
                  </a:cubicBezTo>
                  <a:cubicBezTo>
                    <a:pt x="117" y="20"/>
                    <a:pt x="112" y="15"/>
                    <a:pt x="106" y="11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15" y="109"/>
                    <a:pt x="115" y="109"/>
                    <a:pt x="115" y="109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06" y="111"/>
                    <a:pt x="106" y="111"/>
                    <a:pt x="106" y="111"/>
                  </a:cubicBezTo>
                  <a:lnTo>
                    <a:pt x="106" y="125"/>
                  </a:lnTo>
                  <a:close/>
                  <a:moveTo>
                    <a:pt x="68" y="136"/>
                  </a:moveTo>
                  <a:cubicBezTo>
                    <a:pt x="82" y="136"/>
                    <a:pt x="95" y="132"/>
                    <a:pt x="106" y="125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95" y="4"/>
                    <a:pt x="82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90" y="42"/>
                    <a:pt x="90" y="42"/>
                    <a:pt x="90" y="42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6"/>
                    <a:pt x="68" y="136"/>
                    <a:pt x="68" y="136"/>
                  </a:cubicBezTo>
                  <a:close/>
                  <a:moveTo>
                    <a:pt x="68" y="0"/>
                  </a:moveTo>
                  <a:cubicBezTo>
                    <a:pt x="54" y="0"/>
                    <a:pt x="41" y="4"/>
                    <a:pt x="30" y="1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41" y="132"/>
                    <a:pt x="54" y="136"/>
                    <a:pt x="68" y="136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5"/>
                    <a:pt x="68" y="5"/>
                    <a:pt x="68" y="5"/>
                  </a:cubicBezTo>
                  <a:lnTo>
                    <a:pt x="68" y="0"/>
                  </a:lnTo>
                  <a:close/>
                  <a:moveTo>
                    <a:pt x="30" y="11"/>
                  </a:moveTo>
                  <a:cubicBezTo>
                    <a:pt x="25" y="15"/>
                    <a:pt x="19" y="20"/>
                    <a:pt x="15" y="25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9" y="116"/>
                    <a:pt x="25" y="121"/>
                    <a:pt x="30" y="125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0" y="25"/>
                    <a:pt x="30" y="25"/>
                    <a:pt x="30" y="25"/>
                  </a:cubicBezTo>
                  <a:lnTo>
                    <a:pt x="30" y="11"/>
                  </a:lnTo>
                  <a:close/>
                  <a:moveTo>
                    <a:pt x="15" y="25"/>
                  </a:moveTo>
                  <a:cubicBezTo>
                    <a:pt x="6" y="37"/>
                    <a:pt x="0" y="52"/>
                    <a:pt x="0" y="68"/>
                  </a:cubicBezTo>
                  <a:cubicBezTo>
                    <a:pt x="0" y="84"/>
                    <a:pt x="6" y="99"/>
                    <a:pt x="15" y="111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15" y="64"/>
                    <a:pt x="15" y="64"/>
                    <a:pt x="15" y="64"/>
                  </a:cubicBezTo>
                  <a:lnTo>
                    <a:pt x="15" y="2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7" name="任意多边形: 形状 1746"/>
            <p:cNvSpPr/>
            <p:nvPr>
              <p:custDataLst>
                <p:tags r:id="rId339"/>
              </p:custDataLst>
            </p:nvPr>
          </p:nvSpPr>
          <p:spPr bwMode="auto">
            <a:xfrm flipH="1">
              <a:off x="2814495" y="2373534"/>
              <a:ext cx="310917" cy="245862"/>
            </a:xfrm>
            <a:custGeom>
              <a:avLst/>
              <a:gdLst>
                <a:gd name="T0" fmla="*/ 108 w 144"/>
                <a:gd name="T1" fmla="*/ 13 h 121"/>
                <a:gd name="T2" fmla="*/ 100 w 144"/>
                <a:gd name="T3" fmla="*/ 7 h 121"/>
                <a:gd name="T4" fmla="*/ 97 w 144"/>
                <a:gd name="T5" fmla="*/ 6 h 121"/>
                <a:gd name="T6" fmla="*/ 68 w 144"/>
                <a:gd name="T7" fmla="*/ 0 h 121"/>
                <a:gd name="T8" fmla="*/ 8 w 144"/>
                <a:gd name="T9" fmla="*/ 36 h 121"/>
                <a:gd name="T10" fmla="*/ 1 w 144"/>
                <a:gd name="T11" fmla="*/ 61 h 121"/>
                <a:gd name="T12" fmla="*/ 0 w 144"/>
                <a:gd name="T13" fmla="*/ 65 h 121"/>
                <a:gd name="T14" fmla="*/ 1 w 144"/>
                <a:gd name="T15" fmla="*/ 67 h 121"/>
                <a:gd name="T16" fmla="*/ 3 w 144"/>
                <a:gd name="T17" fmla="*/ 66 h 121"/>
                <a:gd name="T18" fmla="*/ 6 w 144"/>
                <a:gd name="T19" fmla="*/ 63 h 121"/>
                <a:gd name="T20" fmla="*/ 18 w 144"/>
                <a:gd name="T21" fmla="*/ 59 h 121"/>
                <a:gd name="T22" fmla="*/ 27 w 144"/>
                <a:gd name="T23" fmla="*/ 61 h 121"/>
                <a:gd name="T24" fmla="*/ 37 w 144"/>
                <a:gd name="T25" fmla="*/ 79 h 121"/>
                <a:gd name="T26" fmla="*/ 37 w 144"/>
                <a:gd name="T27" fmla="*/ 83 h 121"/>
                <a:gd name="T28" fmla="*/ 41 w 144"/>
                <a:gd name="T29" fmla="*/ 81 h 121"/>
                <a:gd name="T30" fmla="*/ 52 w 144"/>
                <a:gd name="T31" fmla="*/ 77 h 121"/>
                <a:gd name="T32" fmla="*/ 58 w 144"/>
                <a:gd name="T33" fmla="*/ 78 h 121"/>
                <a:gd name="T34" fmla="*/ 62 w 144"/>
                <a:gd name="T35" fmla="*/ 80 h 121"/>
                <a:gd name="T36" fmla="*/ 69 w 144"/>
                <a:gd name="T37" fmla="*/ 87 h 121"/>
                <a:gd name="T38" fmla="*/ 72 w 144"/>
                <a:gd name="T39" fmla="*/ 98 h 121"/>
                <a:gd name="T40" fmla="*/ 72 w 144"/>
                <a:gd name="T41" fmla="*/ 102 h 121"/>
                <a:gd name="T42" fmla="*/ 75 w 144"/>
                <a:gd name="T43" fmla="*/ 100 h 121"/>
                <a:gd name="T44" fmla="*/ 87 w 144"/>
                <a:gd name="T45" fmla="*/ 96 h 121"/>
                <a:gd name="T46" fmla="*/ 96 w 144"/>
                <a:gd name="T47" fmla="*/ 98 h 121"/>
                <a:gd name="T48" fmla="*/ 107 w 144"/>
                <a:gd name="T49" fmla="*/ 116 h 121"/>
                <a:gd name="T50" fmla="*/ 108 w 144"/>
                <a:gd name="T51" fmla="*/ 121 h 121"/>
                <a:gd name="T52" fmla="*/ 111 w 144"/>
                <a:gd name="T53" fmla="*/ 119 h 121"/>
                <a:gd name="T54" fmla="*/ 128 w 144"/>
                <a:gd name="T55" fmla="*/ 99 h 121"/>
                <a:gd name="T56" fmla="*/ 108 w 144"/>
                <a:gd name="T57" fmla="*/ 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4" h="121">
                  <a:moveTo>
                    <a:pt x="108" y="13"/>
                  </a:moveTo>
                  <a:cubicBezTo>
                    <a:pt x="106" y="11"/>
                    <a:pt x="103" y="9"/>
                    <a:pt x="100" y="7"/>
                  </a:cubicBezTo>
                  <a:cubicBezTo>
                    <a:pt x="99" y="7"/>
                    <a:pt x="98" y="6"/>
                    <a:pt x="97" y="6"/>
                  </a:cubicBezTo>
                  <a:cubicBezTo>
                    <a:pt x="88" y="2"/>
                    <a:pt x="78" y="0"/>
                    <a:pt x="68" y="0"/>
                  </a:cubicBezTo>
                  <a:cubicBezTo>
                    <a:pt x="44" y="0"/>
                    <a:pt x="20" y="13"/>
                    <a:pt x="8" y="36"/>
                  </a:cubicBezTo>
                  <a:cubicBezTo>
                    <a:pt x="4" y="44"/>
                    <a:pt x="2" y="52"/>
                    <a:pt x="1" y="61"/>
                  </a:cubicBezTo>
                  <a:cubicBezTo>
                    <a:pt x="1" y="62"/>
                    <a:pt x="0" y="64"/>
                    <a:pt x="0" y="65"/>
                  </a:cubicBezTo>
                  <a:cubicBezTo>
                    <a:pt x="0" y="66"/>
                    <a:pt x="1" y="67"/>
                    <a:pt x="1" y="67"/>
                  </a:cubicBezTo>
                  <a:cubicBezTo>
                    <a:pt x="2" y="67"/>
                    <a:pt x="2" y="67"/>
                    <a:pt x="3" y="66"/>
                  </a:cubicBezTo>
                  <a:cubicBezTo>
                    <a:pt x="4" y="65"/>
                    <a:pt x="5" y="64"/>
                    <a:pt x="6" y="63"/>
                  </a:cubicBezTo>
                  <a:cubicBezTo>
                    <a:pt x="10" y="60"/>
                    <a:pt x="14" y="59"/>
                    <a:pt x="18" y="59"/>
                  </a:cubicBezTo>
                  <a:cubicBezTo>
                    <a:pt x="21" y="59"/>
                    <a:pt x="24" y="60"/>
                    <a:pt x="27" y="61"/>
                  </a:cubicBezTo>
                  <a:cubicBezTo>
                    <a:pt x="34" y="65"/>
                    <a:pt x="37" y="72"/>
                    <a:pt x="37" y="79"/>
                  </a:cubicBezTo>
                  <a:cubicBezTo>
                    <a:pt x="37" y="82"/>
                    <a:pt x="37" y="83"/>
                    <a:pt x="37" y="83"/>
                  </a:cubicBezTo>
                  <a:cubicBezTo>
                    <a:pt x="38" y="83"/>
                    <a:pt x="39" y="82"/>
                    <a:pt x="41" y="81"/>
                  </a:cubicBezTo>
                  <a:cubicBezTo>
                    <a:pt x="44" y="79"/>
                    <a:pt x="48" y="77"/>
                    <a:pt x="52" y="77"/>
                  </a:cubicBezTo>
                  <a:cubicBezTo>
                    <a:pt x="54" y="77"/>
                    <a:pt x="56" y="78"/>
                    <a:pt x="58" y="78"/>
                  </a:cubicBezTo>
                  <a:cubicBezTo>
                    <a:pt x="59" y="79"/>
                    <a:pt x="61" y="79"/>
                    <a:pt x="62" y="80"/>
                  </a:cubicBezTo>
                  <a:cubicBezTo>
                    <a:pt x="65" y="81"/>
                    <a:pt x="67" y="84"/>
                    <a:pt x="69" y="87"/>
                  </a:cubicBezTo>
                  <a:cubicBezTo>
                    <a:pt x="71" y="90"/>
                    <a:pt x="72" y="94"/>
                    <a:pt x="72" y="98"/>
                  </a:cubicBezTo>
                  <a:cubicBezTo>
                    <a:pt x="72" y="100"/>
                    <a:pt x="72" y="102"/>
                    <a:pt x="72" y="102"/>
                  </a:cubicBezTo>
                  <a:cubicBezTo>
                    <a:pt x="73" y="102"/>
                    <a:pt x="74" y="101"/>
                    <a:pt x="75" y="100"/>
                  </a:cubicBezTo>
                  <a:cubicBezTo>
                    <a:pt x="79" y="97"/>
                    <a:pt x="83" y="96"/>
                    <a:pt x="87" y="96"/>
                  </a:cubicBezTo>
                  <a:cubicBezTo>
                    <a:pt x="90" y="96"/>
                    <a:pt x="93" y="97"/>
                    <a:pt x="96" y="98"/>
                  </a:cubicBezTo>
                  <a:cubicBezTo>
                    <a:pt x="103" y="102"/>
                    <a:pt x="107" y="109"/>
                    <a:pt x="107" y="116"/>
                  </a:cubicBezTo>
                  <a:cubicBezTo>
                    <a:pt x="107" y="119"/>
                    <a:pt x="107" y="121"/>
                    <a:pt x="108" y="121"/>
                  </a:cubicBezTo>
                  <a:cubicBezTo>
                    <a:pt x="109" y="121"/>
                    <a:pt x="110" y="120"/>
                    <a:pt x="111" y="119"/>
                  </a:cubicBezTo>
                  <a:cubicBezTo>
                    <a:pt x="118" y="114"/>
                    <a:pt x="124" y="107"/>
                    <a:pt x="128" y="99"/>
                  </a:cubicBezTo>
                  <a:cubicBezTo>
                    <a:pt x="144" y="69"/>
                    <a:pt x="135" y="32"/>
                    <a:pt x="108" y="1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8" name="任意多边形: 形状 1747"/>
            <p:cNvSpPr/>
            <p:nvPr>
              <p:custDataLst>
                <p:tags r:id="rId340"/>
              </p:custDataLst>
            </p:nvPr>
          </p:nvSpPr>
          <p:spPr bwMode="auto">
            <a:xfrm flipH="1">
              <a:off x="2416961" y="2691607"/>
              <a:ext cx="394800" cy="349021"/>
            </a:xfrm>
            <a:custGeom>
              <a:avLst/>
              <a:gdLst>
                <a:gd name="T0" fmla="*/ 26 w 183"/>
                <a:gd name="T1" fmla="*/ 139 h 172"/>
                <a:gd name="T2" fmla="*/ 76 w 183"/>
                <a:gd name="T3" fmla="*/ 113 h 172"/>
                <a:gd name="T4" fmla="*/ 85 w 183"/>
                <a:gd name="T5" fmla="*/ 111 h 172"/>
                <a:gd name="T6" fmla="*/ 86 w 183"/>
                <a:gd name="T7" fmla="*/ 121 h 172"/>
                <a:gd name="T8" fmla="*/ 85 w 183"/>
                <a:gd name="T9" fmla="*/ 142 h 172"/>
                <a:gd name="T10" fmla="*/ 84 w 183"/>
                <a:gd name="T11" fmla="*/ 172 h 172"/>
                <a:gd name="T12" fmla="*/ 99 w 183"/>
                <a:gd name="T13" fmla="*/ 172 h 172"/>
                <a:gd name="T14" fmla="*/ 98 w 183"/>
                <a:gd name="T15" fmla="*/ 142 h 172"/>
                <a:gd name="T16" fmla="*/ 97 w 183"/>
                <a:gd name="T17" fmla="*/ 121 h 172"/>
                <a:gd name="T18" fmla="*/ 97 w 183"/>
                <a:gd name="T19" fmla="*/ 111 h 172"/>
                <a:gd name="T20" fmla="*/ 106 w 183"/>
                <a:gd name="T21" fmla="*/ 113 h 172"/>
                <a:gd name="T22" fmla="*/ 156 w 183"/>
                <a:gd name="T23" fmla="*/ 139 h 172"/>
                <a:gd name="T24" fmla="*/ 176 w 183"/>
                <a:gd name="T25" fmla="*/ 119 h 172"/>
                <a:gd name="T26" fmla="*/ 164 w 183"/>
                <a:gd name="T27" fmla="*/ 56 h 172"/>
                <a:gd name="T28" fmla="*/ 102 w 183"/>
                <a:gd name="T29" fmla="*/ 96 h 172"/>
                <a:gd name="T30" fmla="*/ 99 w 183"/>
                <a:gd name="T31" fmla="*/ 90 h 172"/>
                <a:gd name="T32" fmla="*/ 110 w 183"/>
                <a:gd name="T33" fmla="*/ 69 h 172"/>
                <a:gd name="T34" fmla="*/ 131 w 183"/>
                <a:gd name="T35" fmla="*/ 21 h 172"/>
                <a:gd name="T36" fmla="*/ 91 w 183"/>
                <a:gd name="T37" fmla="*/ 1 h 172"/>
                <a:gd name="T38" fmla="*/ 52 w 183"/>
                <a:gd name="T39" fmla="*/ 21 h 172"/>
                <a:gd name="T40" fmla="*/ 72 w 183"/>
                <a:gd name="T41" fmla="*/ 69 h 172"/>
                <a:gd name="T42" fmla="*/ 83 w 183"/>
                <a:gd name="T43" fmla="*/ 90 h 172"/>
                <a:gd name="T44" fmla="*/ 81 w 183"/>
                <a:gd name="T45" fmla="*/ 96 h 172"/>
                <a:gd name="T46" fmla="*/ 19 w 183"/>
                <a:gd name="T47" fmla="*/ 56 h 172"/>
                <a:gd name="T48" fmla="*/ 6 w 183"/>
                <a:gd name="T49" fmla="*/ 119 h 172"/>
                <a:gd name="T50" fmla="*/ 26 w 183"/>
                <a:gd name="T51" fmla="*/ 13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72">
                  <a:moveTo>
                    <a:pt x="26" y="139"/>
                  </a:moveTo>
                  <a:cubicBezTo>
                    <a:pt x="45" y="141"/>
                    <a:pt x="61" y="121"/>
                    <a:pt x="76" y="113"/>
                  </a:cubicBezTo>
                  <a:cubicBezTo>
                    <a:pt x="78" y="112"/>
                    <a:pt x="83" y="109"/>
                    <a:pt x="85" y="111"/>
                  </a:cubicBezTo>
                  <a:cubicBezTo>
                    <a:pt x="87" y="114"/>
                    <a:pt x="86" y="118"/>
                    <a:pt x="86" y="121"/>
                  </a:cubicBezTo>
                  <a:cubicBezTo>
                    <a:pt x="86" y="128"/>
                    <a:pt x="85" y="135"/>
                    <a:pt x="85" y="142"/>
                  </a:cubicBezTo>
                  <a:cubicBezTo>
                    <a:pt x="85" y="150"/>
                    <a:pt x="84" y="164"/>
                    <a:pt x="84" y="172"/>
                  </a:cubicBezTo>
                  <a:cubicBezTo>
                    <a:pt x="99" y="172"/>
                    <a:pt x="99" y="172"/>
                    <a:pt x="99" y="172"/>
                  </a:cubicBezTo>
                  <a:cubicBezTo>
                    <a:pt x="98" y="164"/>
                    <a:pt x="98" y="150"/>
                    <a:pt x="98" y="142"/>
                  </a:cubicBezTo>
                  <a:cubicBezTo>
                    <a:pt x="97" y="135"/>
                    <a:pt x="97" y="128"/>
                    <a:pt x="97" y="121"/>
                  </a:cubicBezTo>
                  <a:cubicBezTo>
                    <a:pt x="97" y="118"/>
                    <a:pt x="96" y="114"/>
                    <a:pt x="97" y="111"/>
                  </a:cubicBezTo>
                  <a:cubicBezTo>
                    <a:pt x="99" y="109"/>
                    <a:pt x="105" y="112"/>
                    <a:pt x="106" y="113"/>
                  </a:cubicBezTo>
                  <a:cubicBezTo>
                    <a:pt x="122" y="121"/>
                    <a:pt x="137" y="141"/>
                    <a:pt x="156" y="139"/>
                  </a:cubicBezTo>
                  <a:cubicBezTo>
                    <a:pt x="167" y="137"/>
                    <a:pt x="173" y="128"/>
                    <a:pt x="176" y="119"/>
                  </a:cubicBezTo>
                  <a:cubicBezTo>
                    <a:pt x="182" y="101"/>
                    <a:pt x="183" y="68"/>
                    <a:pt x="164" y="56"/>
                  </a:cubicBezTo>
                  <a:cubicBezTo>
                    <a:pt x="135" y="39"/>
                    <a:pt x="126" y="94"/>
                    <a:pt x="102" y="96"/>
                  </a:cubicBezTo>
                  <a:cubicBezTo>
                    <a:pt x="97" y="96"/>
                    <a:pt x="98" y="94"/>
                    <a:pt x="99" y="90"/>
                  </a:cubicBezTo>
                  <a:cubicBezTo>
                    <a:pt x="101" y="82"/>
                    <a:pt x="105" y="75"/>
                    <a:pt x="110" y="69"/>
                  </a:cubicBezTo>
                  <a:cubicBezTo>
                    <a:pt x="120" y="56"/>
                    <a:pt x="134" y="39"/>
                    <a:pt x="131" y="21"/>
                  </a:cubicBezTo>
                  <a:cubicBezTo>
                    <a:pt x="128" y="5"/>
                    <a:pt x="109" y="0"/>
                    <a:pt x="91" y="1"/>
                  </a:cubicBezTo>
                  <a:cubicBezTo>
                    <a:pt x="74" y="0"/>
                    <a:pt x="54" y="5"/>
                    <a:pt x="52" y="21"/>
                  </a:cubicBezTo>
                  <a:cubicBezTo>
                    <a:pt x="49" y="39"/>
                    <a:pt x="62" y="56"/>
                    <a:pt x="72" y="69"/>
                  </a:cubicBezTo>
                  <a:cubicBezTo>
                    <a:pt x="77" y="75"/>
                    <a:pt x="81" y="82"/>
                    <a:pt x="83" y="90"/>
                  </a:cubicBezTo>
                  <a:cubicBezTo>
                    <a:pt x="85" y="94"/>
                    <a:pt x="85" y="96"/>
                    <a:pt x="81" y="96"/>
                  </a:cubicBezTo>
                  <a:cubicBezTo>
                    <a:pt x="57" y="94"/>
                    <a:pt x="47" y="39"/>
                    <a:pt x="19" y="56"/>
                  </a:cubicBezTo>
                  <a:cubicBezTo>
                    <a:pt x="0" y="68"/>
                    <a:pt x="0" y="101"/>
                    <a:pt x="6" y="119"/>
                  </a:cubicBezTo>
                  <a:cubicBezTo>
                    <a:pt x="9" y="128"/>
                    <a:pt x="16" y="137"/>
                    <a:pt x="26" y="13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49" name="任意多边形: 形状 1748"/>
            <p:cNvSpPr/>
            <p:nvPr>
              <p:custDataLst>
                <p:tags r:id="rId341"/>
              </p:custDataLst>
            </p:nvPr>
          </p:nvSpPr>
          <p:spPr bwMode="auto">
            <a:xfrm flipH="1">
              <a:off x="2974597" y="2697682"/>
              <a:ext cx="211533" cy="317214"/>
            </a:xfrm>
            <a:custGeom>
              <a:avLst/>
              <a:gdLst>
                <a:gd name="T0" fmla="*/ 232 w 232"/>
                <a:gd name="T1" fmla="*/ 369 h 369"/>
                <a:gd name="T2" fmla="*/ 206 w 232"/>
                <a:gd name="T3" fmla="*/ 7 h 369"/>
                <a:gd name="T4" fmla="*/ 185 w 232"/>
                <a:gd name="T5" fmla="*/ 0 h 369"/>
                <a:gd name="T6" fmla="*/ 206 w 232"/>
                <a:gd name="T7" fmla="*/ 29 h 369"/>
                <a:gd name="T8" fmla="*/ 206 w 232"/>
                <a:gd name="T9" fmla="*/ 239 h 369"/>
                <a:gd name="T10" fmla="*/ 185 w 232"/>
                <a:gd name="T11" fmla="*/ 265 h 369"/>
                <a:gd name="T12" fmla="*/ 206 w 232"/>
                <a:gd name="T13" fmla="*/ 296 h 369"/>
                <a:gd name="T14" fmla="*/ 185 w 232"/>
                <a:gd name="T15" fmla="*/ 296 h 369"/>
                <a:gd name="T16" fmla="*/ 206 w 232"/>
                <a:gd name="T17" fmla="*/ 317 h 369"/>
                <a:gd name="T18" fmla="*/ 206 w 232"/>
                <a:gd name="T19" fmla="*/ 346 h 369"/>
                <a:gd name="T20" fmla="*/ 185 w 232"/>
                <a:gd name="T21" fmla="*/ 369 h 369"/>
                <a:gd name="T22" fmla="*/ 161 w 232"/>
                <a:gd name="T23" fmla="*/ 7 h 369"/>
                <a:gd name="T24" fmla="*/ 116 w 232"/>
                <a:gd name="T25" fmla="*/ 29 h 369"/>
                <a:gd name="T26" fmla="*/ 185 w 232"/>
                <a:gd name="T27" fmla="*/ 0 h 369"/>
                <a:gd name="T28" fmla="*/ 161 w 232"/>
                <a:gd name="T29" fmla="*/ 0 h 369"/>
                <a:gd name="T30" fmla="*/ 185 w 232"/>
                <a:gd name="T31" fmla="*/ 369 h 369"/>
                <a:gd name="T32" fmla="*/ 161 w 232"/>
                <a:gd name="T33" fmla="*/ 346 h 369"/>
                <a:gd name="T34" fmla="*/ 185 w 232"/>
                <a:gd name="T35" fmla="*/ 317 h 369"/>
                <a:gd name="T36" fmla="*/ 161 w 232"/>
                <a:gd name="T37" fmla="*/ 296 h 369"/>
                <a:gd name="T38" fmla="*/ 185 w 232"/>
                <a:gd name="T39" fmla="*/ 265 h 369"/>
                <a:gd name="T40" fmla="*/ 116 w 232"/>
                <a:gd name="T41" fmla="*/ 239 h 369"/>
                <a:gd name="T42" fmla="*/ 138 w 232"/>
                <a:gd name="T43" fmla="*/ 265 h 369"/>
                <a:gd name="T44" fmla="*/ 138 w 232"/>
                <a:gd name="T45" fmla="*/ 296 h 369"/>
                <a:gd name="T46" fmla="*/ 116 w 232"/>
                <a:gd name="T47" fmla="*/ 317 h 369"/>
                <a:gd name="T48" fmla="*/ 138 w 232"/>
                <a:gd name="T49" fmla="*/ 346 h 369"/>
                <a:gd name="T50" fmla="*/ 116 w 232"/>
                <a:gd name="T51" fmla="*/ 346 h 369"/>
                <a:gd name="T52" fmla="*/ 116 w 232"/>
                <a:gd name="T53" fmla="*/ 7 h 369"/>
                <a:gd name="T54" fmla="*/ 48 w 232"/>
                <a:gd name="T55" fmla="*/ 29 h 369"/>
                <a:gd name="T56" fmla="*/ 116 w 232"/>
                <a:gd name="T57" fmla="*/ 7 h 369"/>
                <a:gd name="T58" fmla="*/ 48 w 232"/>
                <a:gd name="T59" fmla="*/ 369 h 369"/>
                <a:gd name="T60" fmla="*/ 116 w 232"/>
                <a:gd name="T61" fmla="*/ 346 h 369"/>
                <a:gd name="T62" fmla="*/ 93 w 232"/>
                <a:gd name="T63" fmla="*/ 317 h 369"/>
                <a:gd name="T64" fmla="*/ 116 w 232"/>
                <a:gd name="T65" fmla="*/ 296 h 369"/>
                <a:gd name="T66" fmla="*/ 93 w 232"/>
                <a:gd name="T67" fmla="*/ 265 h 369"/>
                <a:gd name="T68" fmla="*/ 116 w 232"/>
                <a:gd name="T69" fmla="*/ 239 h 369"/>
                <a:gd name="T70" fmla="*/ 48 w 232"/>
                <a:gd name="T71" fmla="*/ 265 h 369"/>
                <a:gd name="T72" fmla="*/ 69 w 232"/>
                <a:gd name="T73" fmla="*/ 296 h 369"/>
                <a:gd name="T74" fmla="*/ 48 w 232"/>
                <a:gd name="T75" fmla="*/ 296 h 369"/>
                <a:gd name="T76" fmla="*/ 69 w 232"/>
                <a:gd name="T77" fmla="*/ 317 h 369"/>
                <a:gd name="T78" fmla="*/ 69 w 232"/>
                <a:gd name="T79" fmla="*/ 346 h 369"/>
                <a:gd name="T80" fmla="*/ 48 w 232"/>
                <a:gd name="T81" fmla="*/ 369 h 369"/>
                <a:gd name="T82" fmla="*/ 0 w 232"/>
                <a:gd name="T83" fmla="*/ 7 h 369"/>
                <a:gd name="T84" fmla="*/ 48 w 232"/>
                <a:gd name="T85" fmla="*/ 369 h 369"/>
                <a:gd name="T86" fmla="*/ 26 w 232"/>
                <a:gd name="T87" fmla="*/ 346 h 369"/>
                <a:gd name="T88" fmla="*/ 48 w 232"/>
                <a:gd name="T89" fmla="*/ 317 h 369"/>
                <a:gd name="T90" fmla="*/ 26 w 232"/>
                <a:gd name="T91" fmla="*/ 296 h 369"/>
                <a:gd name="T92" fmla="*/ 48 w 232"/>
                <a:gd name="T93" fmla="*/ 265 h 369"/>
                <a:gd name="T94" fmla="*/ 26 w 232"/>
                <a:gd name="T95" fmla="*/ 239 h 369"/>
                <a:gd name="T96" fmla="*/ 48 w 232"/>
                <a:gd name="T97" fmla="*/ 2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2" h="369">
                  <a:moveTo>
                    <a:pt x="185" y="369"/>
                  </a:moveTo>
                  <a:lnTo>
                    <a:pt x="232" y="369"/>
                  </a:lnTo>
                  <a:lnTo>
                    <a:pt x="232" y="7"/>
                  </a:lnTo>
                  <a:lnTo>
                    <a:pt x="206" y="7"/>
                  </a:lnTo>
                  <a:lnTo>
                    <a:pt x="206" y="0"/>
                  </a:lnTo>
                  <a:lnTo>
                    <a:pt x="185" y="0"/>
                  </a:lnTo>
                  <a:lnTo>
                    <a:pt x="185" y="29"/>
                  </a:lnTo>
                  <a:lnTo>
                    <a:pt x="206" y="29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185" y="239"/>
                  </a:lnTo>
                  <a:lnTo>
                    <a:pt x="185" y="265"/>
                  </a:lnTo>
                  <a:lnTo>
                    <a:pt x="206" y="265"/>
                  </a:lnTo>
                  <a:lnTo>
                    <a:pt x="206" y="296"/>
                  </a:lnTo>
                  <a:lnTo>
                    <a:pt x="206" y="296"/>
                  </a:lnTo>
                  <a:lnTo>
                    <a:pt x="185" y="296"/>
                  </a:lnTo>
                  <a:lnTo>
                    <a:pt x="185" y="317"/>
                  </a:lnTo>
                  <a:lnTo>
                    <a:pt x="206" y="317"/>
                  </a:lnTo>
                  <a:lnTo>
                    <a:pt x="206" y="346"/>
                  </a:lnTo>
                  <a:lnTo>
                    <a:pt x="206" y="346"/>
                  </a:lnTo>
                  <a:lnTo>
                    <a:pt x="185" y="346"/>
                  </a:lnTo>
                  <a:lnTo>
                    <a:pt x="185" y="369"/>
                  </a:lnTo>
                  <a:close/>
                  <a:moveTo>
                    <a:pt x="161" y="0"/>
                  </a:moveTo>
                  <a:lnTo>
                    <a:pt x="161" y="7"/>
                  </a:lnTo>
                  <a:lnTo>
                    <a:pt x="116" y="7"/>
                  </a:lnTo>
                  <a:lnTo>
                    <a:pt x="116" y="29"/>
                  </a:lnTo>
                  <a:lnTo>
                    <a:pt x="185" y="29"/>
                  </a:lnTo>
                  <a:lnTo>
                    <a:pt x="185" y="0"/>
                  </a:lnTo>
                  <a:lnTo>
                    <a:pt x="161" y="0"/>
                  </a:lnTo>
                  <a:lnTo>
                    <a:pt x="161" y="0"/>
                  </a:lnTo>
                  <a:close/>
                  <a:moveTo>
                    <a:pt x="116" y="369"/>
                  </a:moveTo>
                  <a:lnTo>
                    <a:pt x="185" y="369"/>
                  </a:lnTo>
                  <a:lnTo>
                    <a:pt x="185" y="346"/>
                  </a:lnTo>
                  <a:lnTo>
                    <a:pt x="161" y="346"/>
                  </a:lnTo>
                  <a:lnTo>
                    <a:pt x="161" y="317"/>
                  </a:lnTo>
                  <a:lnTo>
                    <a:pt x="185" y="317"/>
                  </a:lnTo>
                  <a:lnTo>
                    <a:pt x="185" y="296"/>
                  </a:lnTo>
                  <a:lnTo>
                    <a:pt x="161" y="296"/>
                  </a:lnTo>
                  <a:lnTo>
                    <a:pt x="161" y="265"/>
                  </a:lnTo>
                  <a:lnTo>
                    <a:pt x="185" y="265"/>
                  </a:lnTo>
                  <a:lnTo>
                    <a:pt x="185" y="239"/>
                  </a:lnTo>
                  <a:lnTo>
                    <a:pt x="116" y="239"/>
                  </a:lnTo>
                  <a:lnTo>
                    <a:pt x="116" y="265"/>
                  </a:lnTo>
                  <a:lnTo>
                    <a:pt x="138" y="265"/>
                  </a:lnTo>
                  <a:lnTo>
                    <a:pt x="138" y="296"/>
                  </a:lnTo>
                  <a:lnTo>
                    <a:pt x="138" y="296"/>
                  </a:lnTo>
                  <a:lnTo>
                    <a:pt x="116" y="296"/>
                  </a:lnTo>
                  <a:lnTo>
                    <a:pt x="116" y="317"/>
                  </a:lnTo>
                  <a:lnTo>
                    <a:pt x="138" y="317"/>
                  </a:lnTo>
                  <a:lnTo>
                    <a:pt x="138" y="346"/>
                  </a:lnTo>
                  <a:lnTo>
                    <a:pt x="138" y="346"/>
                  </a:lnTo>
                  <a:lnTo>
                    <a:pt x="116" y="346"/>
                  </a:lnTo>
                  <a:lnTo>
                    <a:pt x="116" y="369"/>
                  </a:lnTo>
                  <a:close/>
                  <a:moveTo>
                    <a:pt x="116" y="7"/>
                  </a:moveTo>
                  <a:lnTo>
                    <a:pt x="48" y="7"/>
                  </a:lnTo>
                  <a:lnTo>
                    <a:pt x="48" y="29"/>
                  </a:lnTo>
                  <a:lnTo>
                    <a:pt x="116" y="29"/>
                  </a:lnTo>
                  <a:lnTo>
                    <a:pt x="116" y="7"/>
                  </a:lnTo>
                  <a:lnTo>
                    <a:pt x="116" y="7"/>
                  </a:lnTo>
                  <a:close/>
                  <a:moveTo>
                    <a:pt x="48" y="369"/>
                  </a:moveTo>
                  <a:lnTo>
                    <a:pt x="116" y="369"/>
                  </a:lnTo>
                  <a:lnTo>
                    <a:pt x="116" y="346"/>
                  </a:lnTo>
                  <a:lnTo>
                    <a:pt x="93" y="346"/>
                  </a:lnTo>
                  <a:lnTo>
                    <a:pt x="93" y="317"/>
                  </a:lnTo>
                  <a:lnTo>
                    <a:pt x="116" y="317"/>
                  </a:lnTo>
                  <a:lnTo>
                    <a:pt x="116" y="296"/>
                  </a:lnTo>
                  <a:lnTo>
                    <a:pt x="93" y="296"/>
                  </a:lnTo>
                  <a:lnTo>
                    <a:pt x="93" y="265"/>
                  </a:lnTo>
                  <a:lnTo>
                    <a:pt x="116" y="265"/>
                  </a:lnTo>
                  <a:lnTo>
                    <a:pt x="116" y="239"/>
                  </a:lnTo>
                  <a:lnTo>
                    <a:pt x="48" y="239"/>
                  </a:lnTo>
                  <a:lnTo>
                    <a:pt x="48" y="265"/>
                  </a:lnTo>
                  <a:lnTo>
                    <a:pt x="69" y="265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48" y="296"/>
                  </a:lnTo>
                  <a:lnTo>
                    <a:pt x="48" y="317"/>
                  </a:lnTo>
                  <a:lnTo>
                    <a:pt x="69" y="317"/>
                  </a:lnTo>
                  <a:lnTo>
                    <a:pt x="69" y="346"/>
                  </a:lnTo>
                  <a:lnTo>
                    <a:pt x="69" y="346"/>
                  </a:lnTo>
                  <a:lnTo>
                    <a:pt x="48" y="346"/>
                  </a:lnTo>
                  <a:lnTo>
                    <a:pt x="48" y="369"/>
                  </a:lnTo>
                  <a:close/>
                  <a:moveTo>
                    <a:pt x="48" y="7"/>
                  </a:moveTo>
                  <a:lnTo>
                    <a:pt x="0" y="7"/>
                  </a:lnTo>
                  <a:lnTo>
                    <a:pt x="0" y="369"/>
                  </a:lnTo>
                  <a:lnTo>
                    <a:pt x="48" y="369"/>
                  </a:lnTo>
                  <a:lnTo>
                    <a:pt x="48" y="346"/>
                  </a:lnTo>
                  <a:lnTo>
                    <a:pt x="26" y="346"/>
                  </a:lnTo>
                  <a:lnTo>
                    <a:pt x="26" y="317"/>
                  </a:lnTo>
                  <a:lnTo>
                    <a:pt x="48" y="317"/>
                  </a:lnTo>
                  <a:lnTo>
                    <a:pt x="48" y="296"/>
                  </a:lnTo>
                  <a:lnTo>
                    <a:pt x="26" y="296"/>
                  </a:lnTo>
                  <a:lnTo>
                    <a:pt x="26" y="265"/>
                  </a:lnTo>
                  <a:lnTo>
                    <a:pt x="48" y="265"/>
                  </a:lnTo>
                  <a:lnTo>
                    <a:pt x="48" y="239"/>
                  </a:lnTo>
                  <a:lnTo>
                    <a:pt x="26" y="239"/>
                  </a:lnTo>
                  <a:lnTo>
                    <a:pt x="26" y="29"/>
                  </a:lnTo>
                  <a:lnTo>
                    <a:pt x="48" y="29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50" name="任意多边形: 形状 1749"/>
            <p:cNvSpPr/>
            <p:nvPr>
              <p:custDataLst>
                <p:tags r:id="rId342"/>
              </p:custDataLst>
            </p:nvPr>
          </p:nvSpPr>
          <p:spPr bwMode="auto">
            <a:xfrm flipH="1">
              <a:off x="2633666" y="3105516"/>
              <a:ext cx="323682" cy="284547"/>
            </a:xfrm>
            <a:custGeom>
              <a:avLst/>
              <a:gdLst>
                <a:gd name="T0" fmla="*/ 141 w 150"/>
                <a:gd name="T1" fmla="*/ 140 h 140"/>
                <a:gd name="T2" fmla="*/ 141 w 150"/>
                <a:gd name="T3" fmla="*/ 129 h 140"/>
                <a:gd name="T4" fmla="*/ 150 w 150"/>
                <a:gd name="T5" fmla="*/ 22 h 140"/>
                <a:gd name="T6" fmla="*/ 131 w 150"/>
                <a:gd name="T7" fmla="*/ 38 h 140"/>
                <a:gd name="T8" fmla="*/ 131 w 150"/>
                <a:gd name="T9" fmla="*/ 55 h 140"/>
                <a:gd name="T10" fmla="*/ 131 w 150"/>
                <a:gd name="T11" fmla="*/ 67 h 140"/>
                <a:gd name="T12" fmla="*/ 131 w 150"/>
                <a:gd name="T13" fmla="*/ 84 h 140"/>
                <a:gd name="T14" fmla="*/ 65 w 150"/>
                <a:gd name="T15" fmla="*/ 7 h 140"/>
                <a:gd name="T16" fmla="*/ 63 w 150"/>
                <a:gd name="T17" fmla="*/ 9 h 140"/>
                <a:gd name="T18" fmla="*/ 63 w 150"/>
                <a:gd name="T19" fmla="*/ 129 h 140"/>
                <a:gd name="T20" fmla="*/ 122 w 150"/>
                <a:gd name="T21" fmla="*/ 129 h 140"/>
                <a:gd name="T22" fmla="*/ 131 w 150"/>
                <a:gd name="T23" fmla="*/ 140 h 140"/>
                <a:gd name="T24" fmla="*/ 123 w 150"/>
                <a:gd name="T25" fmla="*/ 75 h 140"/>
                <a:gd name="T26" fmla="*/ 131 w 150"/>
                <a:gd name="T27" fmla="*/ 55 h 140"/>
                <a:gd name="T28" fmla="*/ 123 w 150"/>
                <a:gd name="T29" fmla="*/ 47 h 140"/>
                <a:gd name="T30" fmla="*/ 131 w 150"/>
                <a:gd name="T31" fmla="*/ 22 h 140"/>
                <a:gd name="T32" fmla="*/ 63 w 150"/>
                <a:gd name="T33" fmla="*/ 35 h 140"/>
                <a:gd name="T34" fmla="*/ 108 w 150"/>
                <a:gd name="T35" fmla="*/ 115 h 140"/>
                <a:gd name="T36" fmla="*/ 63 w 150"/>
                <a:gd name="T37" fmla="*/ 115 h 140"/>
                <a:gd name="T38" fmla="*/ 131 w 150"/>
                <a:gd name="T39" fmla="*/ 67 h 140"/>
                <a:gd name="T40" fmla="*/ 63 w 150"/>
                <a:gd name="T41" fmla="*/ 5 h 140"/>
                <a:gd name="T42" fmla="*/ 33 w 150"/>
                <a:gd name="T43" fmla="*/ 20 h 140"/>
                <a:gd name="T44" fmla="*/ 0 w 150"/>
                <a:gd name="T45" fmla="*/ 7 h 140"/>
                <a:gd name="T46" fmla="*/ 20 w 150"/>
                <a:gd name="T47" fmla="*/ 22 h 140"/>
                <a:gd name="T48" fmla="*/ 3 w 150"/>
                <a:gd name="T49" fmla="*/ 129 h 140"/>
                <a:gd name="T50" fmla="*/ 14 w 150"/>
                <a:gd name="T51" fmla="*/ 129 h 140"/>
                <a:gd name="T52" fmla="*/ 33 w 150"/>
                <a:gd name="T53" fmla="*/ 140 h 140"/>
                <a:gd name="T54" fmla="*/ 33 w 150"/>
                <a:gd name="T55" fmla="*/ 129 h 140"/>
                <a:gd name="T56" fmla="*/ 63 w 150"/>
                <a:gd name="T57" fmla="*/ 115 h 140"/>
                <a:gd name="T58" fmla="*/ 17 w 150"/>
                <a:gd name="T59" fmla="*/ 35 h 140"/>
                <a:gd name="T60" fmla="*/ 63 w 150"/>
                <a:gd name="T61" fmla="*/ 22 h 140"/>
                <a:gd name="T62" fmla="*/ 46 w 150"/>
                <a:gd name="T63" fmla="*/ 21 h 140"/>
                <a:gd name="T64" fmla="*/ 63 w 150"/>
                <a:gd name="T65" fmla="*/ 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0" h="140">
                  <a:moveTo>
                    <a:pt x="131" y="140"/>
                  </a:moveTo>
                  <a:cubicBezTo>
                    <a:pt x="141" y="140"/>
                    <a:pt x="141" y="140"/>
                    <a:pt x="141" y="140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50" y="129"/>
                    <a:pt x="150" y="129"/>
                    <a:pt x="150" y="129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6" y="38"/>
                    <a:pt x="140" y="42"/>
                    <a:pt x="140" y="47"/>
                  </a:cubicBezTo>
                  <a:cubicBezTo>
                    <a:pt x="140" y="51"/>
                    <a:pt x="136" y="55"/>
                    <a:pt x="131" y="55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6" y="67"/>
                    <a:pt x="140" y="71"/>
                    <a:pt x="140" y="75"/>
                  </a:cubicBezTo>
                  <a:cubicBezTo>
                    <a:pt x="140" y="80"/>
                    <a:pt x="136" y="84"/>
                    <a:pt x="131" y="84"/>
                  </a:cubicBezTo>
                  <a:lnTo>
                    <a:pt x="131" y="140"/>
                  </a:lnTo>
                  <a:close/>
                  <a:moveTo>
                    <a:pt x="65" y="7"/>
                  </a:moveTo>
                  <a:cubicBezTo>
                    <a:pt x="63" y="5"/>
                    <a:pt x="63" y="5"/>
                    <a:pt x="63" y="5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5" y="7"/>
                    <a:pt x="65" y="7"/>
                    <a:pt x="65" y="7"/>
                  </a:cubicBezTo>
                  <a:close/>
                  <a:moveTo>
                    <a:pt x="63" y="129"/>
                  </a:moveTo>
                  <a:cubicBezTo>
                    <a:pt x="122" y="129"/>
                    <a:pt x="122" y="129"/>
                    <a:pt x="122" y="129"/>
                  </a:cubicBezTo>
                  <a:cubicBezTo>
                    <a:pt x="122" y="129"/>
                    <a:pt x="122" y="129"/>
                    <a:pt x="122" y="129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27" y="84"/>
                    <a:pt x="123" y="80"/>
                    <a:pt x="123" y="75"/>
                  </a:cubicBezTo>
                  <a:cubicBezTo>
                    <a:pt x="123" y="71"/>
                    <a:pt x="127" y="67"/>
                    <a:pt x="131" y="67"/>
                  </a:cubicBezTo>
                  <a:cubicBezTo>
                    <a:pt x="131" y="55"/>
                    <a:pt x="131" y="55"/>
                    <a:pt x="131" y="55"/>
                  </a:cubicBezTo>
                  <a:cubicBezTo>
                    <a:pt x="127" y="55"/>
                    <a:pt x="123" y="51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2"/>
                    <a:pt x="127" y="38"/>
                    <a:pt x="131" y="38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63" y="129"/>
                    <a:pt x="63" y="129"/>
                    <a:pt x="63" y="129"/>
                  </a:cubicBezTo>
                  <a:close/>
                  <a:moveTo>
                    <a:pt x="131" y="67"/>
                  </a:moveTo>
                  <a:cubicBezTo>
                    <a:pt x="131" y="67"/>
                    <a:pt x="131" y="67"/>
                    <a:pt x="131" y="67"/>
                  </a:cubicBezTo>
                  <a:moveTo>
                    <a:pt x="63" y="5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129"/>
                    <a:pt x="3" y="129"/>
                    <a:pt x="3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33" y="140"/>
                    <a:pt x="33" y="140"/>
                    <a:pt x="33" y="140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63" y="9"/>
                    <a:pt x="63" y="9"/>
                    <a:pt x="63" y="9"/>
                  </a:cubicBezTo>
                  <a:lnTo>
                    <a:pt x="63" y="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51" name="任意多边形: 形状 1750"/>
            <p:cNvSpPr/>
            <p:nvPr>
              <p:custDataLst>
                <p:tags r:id="rId343"/>
              </p:custDataLst>
            </p:nvPr>
          </p:nvSpPr>
          <p:spPr bwMode="auto">
            <a:xfrm flipH="1">
              <a:off x="2622914" y="3467476"/>
              <a:ext cx="308181" cy="178809"/>
            </a:xfrm>
            <a:custGeom>
              <a:avLst/>
              <a:gdLst>
                <a:gd name="T0" fmla="*/ 117 w 143"/>
                <a:gd name="T1" fmla="*/ 38 h 88"/>
                <a:gd name="T2" fmla="*/ 101 w 143"/>
                <a:gd name="T3" fmla="*/ 44 h 88"/>
                <a:gd name="T4" fmla="*/ 89 w 143"/>
                <a:gd name="T5" fmla="*/ 14 h 88"/>
                <a:gd name="T6" fmla="*/ 57 w 143"/>
                <a:gd name="T7" fmla="*/ 0 h 88"/>
                <a:gd name="T8" fmla="*/ 19 w 143"/>
                <a:gd name="T9" fmla="*/ 22 h 88"/>
                <a:gd name="T10" fmla="*/ 13 w 143"/>
                <a:gd name="T11" fmla="*/ 44 h 88"/>
                <a:gd name="T12" fmla="*/ 15 w 143"/>
                <a:gd name="T13" fmla="*/ 57 h 88"/>
                <a:gd name="T14" fmla="*/ 0 w 143"/>
                <a:gd name="T15" fmla="*/ 73 h 88"/>
                <a:gd name="T16" fmla="*/ 15 w 143"/>
                <a:gd name="T17" fmla="*/ 88 h 88"/>
                <a:gd name="T18" fmla="*/ 57 w 143"/>
                <a:gd name="T19" fmla="*/ 88 h 88"/>
                <a:gd name="T20" fmla="*/ 59 w 143"/>
                <a:gd name="T21" fmla="*/ 88 h 88"/>
                <a:gd name="T22" fmla="*/ 117 w 143"/>
                <a:gd name="T23" fmla="*/ 88 h 88"/>
                <a:gd name="T24" fmla="*/ 143 w 143"/>
                <a:gd name="T25" fmla="*/ 63 h 88"/>
                <a:gd name="T26" fmla="*/ 117 w 143"/>
                <a:gd name="T27" fmla="*/ 3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88">
                  <a:moveTo>
                    <a:pt x="117" y="38"/>
                  </a:moveTo>
                  <a:cubicBezTo>
                    <a:pt x="111" y="38"/>
                    <a:pt x="105" y="40"/>
                    <a:pt x="101" y="44"/>
                  </a:cubicBezTo>
                  <a:cubicBezTo>
                    <a:pt x="101" y="32"/>
                    <a:pt x="96" y="22"/>
                    <a:pt x="89" y="14"/>
                  </a:cubicBezTo>
                  <a:cubicBezTo>
                    <a:pt x="81" y="6"/>
                    <a:pt x="69" y="0"/>
                    <a:pt x="57" y="0"/>
                  </a:cubicBezTo>
                  <a:cubicBezTo>
                    <a:pt x="41" y="0"/>
                    <a:pt x="27" y="9"/>
                    <a:pt x="19" y="22"/>
                  </a:cubicBezTo>
                  <a:cubicBezTo>
                    <a:pt x="15" y="29"/>
                    <a:pt x="13" y="36"/>
                    <a:pt x="13" y="44"/>
                  </a:cubicBezTo>
                  <a:cubicBezTo>
                    <a:pt x="13" y="49"/>
                    <a:pt x="13" y="53"/>
                    <a:pt x="15" y="57"/>
                  </a:cubicBezTo>
                  <a:cubicBezTo>
                    <a:pt x="6" y="58"/>
                    <a:pt x="0" y="64"/>
                    <a:pt x="0" y="73"/>
                  </a:cubicBezTo>
                  <a:cubicBezTo>
                    <a:pt x="0" y="81"/>
                    <a:pt x="6" y="88"/>
                    <a:pt x="15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31" y="88"/>
                    <a:pt x="143" y="77"/>
                    <a:pt x="143" y="63"/>
                  </a:cubicBezTo>
                  <a:cubicBezTo>
                    <a:pt x="143" y="49"/>
                    <a:pt x="131" y="38"/>
                    <a:pt x="117" y="3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52" name="任意多边形: 形状 1751"/>
            <p:cNvSpPr/>
            <p:nvPr>
              <p:custDataLst>
                <p:tags r:id="rId344"/>
              </p:custDataLst>
            </p:nvPr>
          </p:nvSpPr>
          <p:spPr bwMode="auto">
            <a:xfrm flipH="1">
              <a:off x="2667176" y="2349463"/>
              <a:ext cx="114493" cy="222252"/>
            </a:xfrm>
            <a:custGeom>
              <a:avLst/>
              <a:gdLst>
                <a:gd name="T0" fmla="*/ 34 w 68"/>
                <a:gd name="T1" fmla="*/ 122 h 142"/>
                <a:gd name="T2" fmla="*/ 67 w 68"/>
                <a:gd name="T3" fmla="*/ 138 h 142"/>
                <a:gd name="T4" fmla="*/ 68 w 68"/>
                <a:gd name="T5" fmla="*/ 138 h 142"/>
                <a:gd name="T6" fmla="*/ 68 w 68"/>
                <a:gd name="T7" fmla="*/ 31 h 142"/>
                <a:gd name="T8" fmla="*/ 66 w 68"/>
                <a:gd name="T9" fmla="*/ 15 h 142"/>
                <a:gd name="T10" fmla="*/ 34 w 68"/>
                <a:gd name="T11" fmla="*/ 0 h 142"/>
                <a:gd name="T12" fmla="*/ 34 w 68"/>
                <a:gd name="T13" fmla="*/ 19 h 142"/>
                <a:gd name="T14" fmla="*/ 57 w 68"/>
                <a:gd name="T15" fmla="*/ 23 h 142"/>
                <a:gd name="T16" fmla="*/ 58 w 68"/>
                <a:gd name="T17" fmla="*/ 26 h 142"/>
                <a:gd name="T18" fmla="*/ 56 w 68"/>
                <a:gd name="T19" fmla="*/ 27 h 142"/>
                <a:gd name="T20" fmla="*/ 55 w 68"/>
                <a:gd name="T21" fmla="*/ 27 h 142"/>
                <a:gd name="T22" fmla="*/ 51 w 68"/>
                <a:gd name="T23" fmla="*/ 25 h 142"/>
                <a:gd name="T24" fmla="*/ 34 w 68"/>
                <a:gd name="T25" fmla="*/ 23 h 142"/>
                <a:gd name="T26" fmla="*/ 34 w 68"/>
                <a:gd name="T27" fmla="*/ 38 h 142"/>
                <a:gd name="T28" fmla="*/ 57 w 68"/>
                <a:gd name="T29" fmla="*/ 43 h 142"/>
                <a:gd name="T30" fmla="*/ 58 w 68"/>
                <a:gd name="T31" fmla="*/ 45 h 142"/>
                <a:gd name="T32" fmla="*/ 56 w 68"/>
                <a:gd name="T33" fmla="*/ 46 h 142"/>
                <a:gd name="T34" fmla="*/ 55 w 68"/>
                <a:gd name="T35" fmla="*/ 46 h 142"/>
                <a:gd name="T36" fmla="*/ 51 w 68"/>
                <a:gd name="T37" fmla="*/ 44 h 142"/>
                <a:gd name="T38" fmla="*/ 34 w 68"/>
                <a:gd name="T39" fmla="*/ 42 h 142"/>
                <a:gd name="T40" fmla="*/ 34 w 68"/>
                <a:gd name="T41" fmla="*/ 57 h 142"/>
                <a:gd name="T42" fmla="*/ 57 w 68"/>
                <a:gd name="T43" fmla="*/ 62 h 142"/>
                <a:gd name="T44" fmla="*/ 58 w 68"/>
                <a:gd name="T45" fmla="*/ 64 h 142"/>
                <a:gd name="T46" fmla="*/ 56 w 68"/>
                <a:gd name="T47" fmla="*/ 65 h 142"/>
                <a:gd name="T48" fmla="*/ 55 w 68"/>
                <a:gd name="T49" fmla="*/ 65 h 142"/>
                <a:gd name="T50" fmla="*/ 51 w 68"/>
                <a:gd name="T51" fmla="*/ 63 h 142"/>
                <a:gd name="T52" fmla="*/ 34 w 68"/>
                <a:gd name="T53" fmla="*/ 61 h 142"/>
                <a:gd name="T54" fmla="*/ 34 w 68"/>
                <a:gd name="T55" fmla="*/ 122 h 142"/>
                <a:gd name="T56" fmla="*/ 1 w 68"/>
                <a:gd name="T57" fmla="*/ 138 h 142"/>
                <a:gd name="T58" fmla="*/ 34 w 68"/>
                <a:gd name="T59" fmla="*/ 122 h 142"/>
                <a:gd name="T60" fmla="*/ 34 w 68"/>
                <a:gd name="T61" fmla="*/ 61 h 142"/>
                <a:gd name="T62" fmla="*/ 17 w 68"/>
                <a:gd name="T63" fmla="*/ 63 h 142"/>
                <a:gd name="T64" fmla="*/ 13 w 68"/>
                <a:gd name="T65" fmla="*/ 65 h 142"/>
                <a:gd name="T66" fmla="*/ 10 w 68"/>
                <a:gd name="T67" fmla="*/ 64 h 142"/>
                <a:gd name="T68" fmla="*/ 11 w 68"/>
                <a:gd name="T69" fmla="*/ 62 h 142"/>
                <a:gd name="T70" fmla="*/ 11 w 68"/>
                <a:gd name="T71" fmla="*/ 62 h 142"/>
                <a:gd name="T72" fmla="*/ 34 w 68"/>
                <a:gd name="T73" fmla="*/ 57 h 142"/>
                <a:gd name="T74" fmla="*/ 34 w 68"/>
                <a:gd name="T75" fmla="*/ 42 h 142"/>
                <a:gd name="T76" fmla="*/ 17 w 68"/>
                <a:gd name="T77" fmla="*/ 44 h 142"/>
                <a:gd name="T78" fmla="*/ 13 w 68"/>
                <a:gd name="T79" fmla="*/ 46 h 142"/>
                <a:gd name="T80" fmla="*/ 10 w 68"/>
                <a:gd name="T81" fmla="*/ 45 h 142"/>
                <a:gd name="T82" fmla="*/ 11 w 68"/>
                <a:gd name="T83" fmla="*/ 43 h 142"/>
                <a:gd name="T84" fmla="*/ 11 w 68"/>
                <a:gd name="T85" fmla="*/ 43 h 142"/>
                <a:gd name="T86" fmla="*/ 34 w 68"/>
                <a:gd name="T87" fmla="*/ 38 h 142"/>
                <a:gd name="T88" fmla="*/ 34 w 68"/>
                <a:gd name="T89" fmla="*/ 23 h 142"/>
                <a:gd name="T90" fmla="*/ 17 w 68"/>
                <a:gd name="T91" fmla="*/ 25 h 142"/>
                <a:gd name="T92" fmla="*/ 13 w 68"/>
                <a:gd name="T93" fmla="*/ 27 h 142"/>
                <a:gd name="T94" fmla="*/ 10 w 68"/>
                <a:gd name="T95" fmla="*/ 26 h 142"/>
                <a:gd name="T96" fmla="*/ 11 w 68"/>
                <a:gd name="T97" fmla="*/ 23 h 142"/>
                <a:gd name="T98" fmla="*/ 11 w 68"/>
                <a:gd name="T99" fmla="*/ 23 h 142"/>
                <a:gd name="T100" fmla="*/ 34 w 68"/>
                <a:gd name="T101" fmla="*/ 19 h 142"/>
                <a:gd name="T102" fmla="*/ 34 w 68"/>
                <a:gd name="T103" fmla="*/ 0 h 142"/>
                <a:gd name="T104" fmla="*/ 2 w 68"/>
                <a:gd name="T105" fmla="*/ 15 h 142"/>
                <a:gd name="T106" fmla="*/ 0 w 68"/>
                <a:gd name="T107" fmla="*/ 31 h 142"/>
                <a:gd name="T108" fmla="*/ 0 w 68"/>
                <a:gd name="T109" fmla="*/ 138 h 142"/>
                <a:gd name="T110" fmla="*/ 1 w 68"/>
                <a:gd name="T1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" h="142">
                  <a:moveTo>
                    <a:pt x="34" y="122"/>
                  </a:moveTo>
                  <a:cubicBezTo>
                    <a:pt x="50" y="122"/>
                    <a:pt x="63" y="126"/>
                    <a:pt x="67" y="138"/>
                  </a:cubicBezTo>
                  <a:cubicBezTo>
                    <a:pt x="68" y="142"/>
                    <a:pt x="68" y="142"/>
                    <a:pt x="68" y="138"/>
                  </a:cubicBezTo>
                  <a:cubicBezTo>
                    <a:pt x="68" y="116"/>
                    <a:pt x="68" y="53"/>
                    <a:pt x="68" y="31"/>
                  </a:cubicBezTo>
                  <a:cubicBezTo>
                    <a:pt x="68" y="26"/>
                    <a:pt x="68" y="19"/>
                    <a:pt x="66" y="15"/>
                  </a:cubicBezTo>
                  <a:cubicBezTo>
                    <a:pt x="62" y="3"/>
                    <a:pt x="49" y="0"/>
                    <a:pt x="34" y="0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44" y="19"/>
                    <a:pt x="51" y="21"/>
                    <a:pt x="57" y="23"/>
                  </a:cubicBezTo>
                  <a:cubicBezTo>
                    <a:pt x="58" y="24"/>
                    <a:pt x="58" y="25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56" y="27"/>
                    <a:pt x="56" y="27"/>
                    <a:pt x="55" y="27"/>
                  </a:cubicBezTo>
                  <a:cubicBezTo>
                    <a:pt x="54" y="26"/>
                    <a:pt x="52" y="26"/>
                    <a:pt x="51" y="25"/>
                  </a:cubicBezTo>
                  <a:cubicBezTo>
                    <a:pt x="46" y="24"/>
                    <a:pt x="41" y="23"/>
                    <a:pt x="34" y="23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44" y="38"/>
                    <a:pt x="51" y="40"/>
                    <a:pt x="57" y="43"/>
                  </a:cubicBezTo>
                  <a:cubicBezTo>
                    <a:pt x="58" y="43"/>
                    <a:pt x="58" y="44"/>
                    <a:pt x="58" y="45"/>
                  </a:cubicBezTo>
                  <a:cubicBezTo>
                    <a:pt x="58" y="46"/>
                    <a:pt x="57" y="46"/>
                    <a:pt x="56" y="46"/>
                  </a:cubicBezTo>
                  <a:cubicBezTo>
                    <a:pt x="56" y="46"/>
                    <a:pt x="56" y="46"/>
                    <a:pt x="55" y="46"/>
                  </a:cubicBezTo>
                  <a:cubicBezTo>
                    <a:pt x="54" y="45"/>
                    <a:pt x="52" y="45"/>
                    <a:pt x="51" y="44"/>
                  </a:cubicBezTo>
                  <a:cubicBezTo>
                    <a:pt x="46" y="43"/>
                    <a:pt x="41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44" y="57"/>
                    <a:pt x="51" y="59"/>
                    <a:pt x="57" y="62"/>
                  </a:cubicBezTo>
                  <a:cubicBezTo>
                    <a:pt x="58" y="62"/>
                    <a:pt x="58" y="63"/>
                    <a:pt x="58" y="64"/>
                  </a:cubicBezTo>
                  <a:cubicBezTo>
                    <a:pt x="58" y="65"/>
                    <a:pt x="57" y="65"/>
                    <a:pt x="56" y="65"/>
                  </a:cubicBezTo>
                  <a:cubicBezTo>
                    <a:pt x="56" y="65"/>
                    <a:pt x="56" y="65"/>
                    <a:pt x="55" y="65"/>
                  </a:cubicBezTo>
                  <a:cubicBezTo>
                    <a:pt x="54" y="64"/>
                    <a:pt x="52" y="64"/>
                    <a:pt x="51" y="63"/>
                  </a:cubicBezTo>
                  <a:cubicBezTo>
                    <a:pt x="46" y="62"/>
                    <a:pt x="41" y="61"/>
                    <a:pt x="34" y="61"/>
                  </a:cubicBezTo>
                  <a:lnTo>
                    <a:pt x="34" y="122"/>
                  </a:lnTo>
                  <a:close/>
                  <a:moveTo>
                    <a:pt x="1" y="138"/>
                  </a:moveTo>
                  <a:cubicBezTo>
                    <a:pt x="5" y="126"/>
                    <a:pt x="18" y="122"/>
                    <a:pt x="34" y="12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7" y="61"/>
                    <a:pt x="22" y="62"/>
                    <a:pt x="17" y="63"/>
                  </a:cubicBezTo>
                  <a:cubicBezTo>
                    <a:pt x="16" y="64"/>
                    <a:pt x="14" y="64"/>
                    <a:pt x="13" y="65"/>
                  </a:cubicBezTo>
                  <a:cubicBezTo>
                    <a:pt x="12" y="66"/>
                    <a:pt x="10" y="65"/>
                    <a:pt x="10" y="64"/>
                  </a:cubicBezTo>
                  <a:cubicBezTo>
                    <a:pt x="9" y="63"/>
                    <a:pt x="10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7" y="59"/>
                    <a:pt x="24" y="57"/>
                    <a:pt x="34" y="57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7" y="42"/>
                    <a:pt x="22" y="43"/>
                    <a:pt x="17" y="44"/>
                  </a:cubicBezTo>
                  <a:cubicBezTo>
                    <a:pt x="16" y="45"/>
                    <a:pt x="14" y="45"/>
                    <a:pt x="13" y="46"/>
                  </a:cubicBezTo>
                  <a:cubicBezTo>
                    <a:pt x="12" y="47"/>
                    <a:pt x="10" y="46"/>
                    <a:pt x="10" y="45"/>
                  </a:cubicBezTo>
                  <a:cubicBezTo>
                    <a:pt x="9" y="44"/>
                    <a:pt x="10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7" y="40"/>
                    <a:pt x="24" y="38"/>
                    <a:pt x="34" y="3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7" y="23"/>
                    <a:pt x="22" y="24"/>
                    <a:pt x="17" y="25"/>
                  </a:cubicBezTo>
                  <a:cubicBezTo>
                    <a:pt x="15" y="26"/>
                    <a:pt x="14" y="26"/>
                    <a:pt x="13" y="27"/>
                  </a:cubicBezTo>
                  <a:cubicBezTo>
                    <a:pt x="12" y="27"/>
                    <a:pt x="10" y="27"/>
                    <a:pt x="10" y="26"/>
                  </a:cubicBezTo>
                  <a:cubicBezTo>
                    <a:pt x="9" y="25"/>
                    <a:pt x="10" y="24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21"/>
                    <a:pt x="24" y="19"/>
                    <a:pt x="34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6" y="3"/>
                    <a:pt x="2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53" name="任意多边形: 形状 1752"/>
            <p:cNvSpPr/>
            <p:nvPr>
              <p:custDataLst>
                <p:tags r:id="rId345"/>
              </p:custDataLst>
            </p:nvPr>
          </p:nvSpPr>
          <p:spPr bwMode="auto">
            <a:xfrm flipH="1">
              <a:off x="2544151" y="2349463"/>
              <a:ext cx="112359" cy="222252"/>
            </a:xfrm>
            <a:custGeom>
              <a:avLst/>
              <a:gdLst>
                <a:gd name="T0" fmla="*/ 67 w 67"/>
                <a:gd name="T1" fmla="*/ 138 h 142"/>
                <a:gd name="T2" fmla="*/ 66 w 67"/>
                <a:gd name="T3" fmla="*/ 15 h 142"/>
                <a:gd name="T4" fmla="*/ 33 w 67"/>
                <a:gd name="T5" fmla="*/ 19 h 142"/>
                <a:gd name="T6" fmla="*/ 57 w 67"/>
                <a:gd name="T7" fmla="*/ 26 h 142"/>
                <a:gd name="T8" fmla="*/ 56 w 67"/>
                <a:gd name="T9" fmla="*/ 27 h 142"/>
                <a:gd name="T10" fmla="*/ 50 w 67"/>
                <a:gd name="T11" fmla="*/ 25 h 142"/>
                <a:gd name="T12" fmla="*/ 33 w 67"/>
                <a:gd name="T13" fmla="*/ 38 h 142"/>
                <a:gd name="T14" fmla="*/ 57 w 67"/>
                <a:gd name="T15" fmla="*/ 45 h 142"/>
                <a:gd name="T16" fmla="*/ 56 w 67"/>
                <a:gd name="T17" fmla="*/ 46 h 142"/>
                <a:gd name="T18" fmla="*/ 50 w 67"/>
                <a:gd name="T19" fmla="*/ 44 h 142"/>
                <a:gd name="T20" fmla="*/ 33 w 67"/>
                <a:gd name="T21" fmla="*/ 57 h 142"/>
                <a:gd name="T22" fmla="*/ 57 w 67"/>
                <a:gd name="T23" fmla="*/ 64 h 142"/>
                <a:gd name="T24" fmla="*/ 56 w 67"/>
                <a:gd name="T25" fmla="*/ 65 h 142"/>
                <a:gd name="T26" fmla="*/ 50 w 67"/>
                <a:gd name="T27" fmla="*/ 63 h 142"/>
                <a:gd name="T28" fmla="*/ 33 w 67"/>
                <a:gd name="T29" fmla="*/ 122 h 142"/>
                <a:gd name="T30" fmla="*/ 66 w 67"/>
                <a:gd name="T31" fmla="*/ 138 h 142"/>
                <a:gd name="T32" fmla="*/ 33 w 67"/>
                <a:gd name="T33" fmla="*/ 0 h 142"/>
                <a:gd name="T34" fmla="*/ 0 w 67"/>
                <a:gd name="T35" fmla="*/ 31 h 142"/>
                <a:gd name="T36" fmla="*/ 1 w 67"/>
                <a:gd name="T37" fmla="*/ 138 h 142"/>
                <a:gd name="T38" fmla="*/ 33 w 67"/>
                <a:gd name="T39" fmla="*/ 61 h 142"/>
                <a:gd name="T40" fmla="*/ 17 w 67"/>
                <a:gd name="T41" fmla="*/ 63 h 142"/>
                <a:gd name="T42" fmla="*/ 9 w 67"/>
                <a:gd name="T43" fmla="*/ 64 h 142"/>
                <a:gd name="T44" fmla="*/ 33 w 67"/>
                <a:gd name="T45" fmla="*/ 57 h 142"/>
                <a:gd name="T46" fmla="*/ 33 w 67"/>
                <a:gd name="T47" fmla="*/ 42 h 142"/>
                <a:gd name="T48" fmla="*/ 17 w 67"/>
                <a:gd name="T49" fmla="*/ 44 h 142"/>
                <a:gd name="T50" fmla="*/ 9 w 67"/>
                <a:gd name="T51" fmla="*/ 45 h 142"/>
                <a:gd name="T52" fmla="*/ 33 w 67"/>
                <a:gd name="T53" fmla="*/ 38 h 142"/>
                <a:gd name="T54" fmla="*/ 33 w 67"/>
                <a:gd name="T55" fmla="*/ 23 h 142"/>
                <a:gd name="T56" fmla="*/ 17 w 67"/>
                <a:gd name="T57" fmla="*/ 25 h 142"/>
                <a:gd name="T58" fmla="*/ 9 w 67"/>
                <a:gd name="T59" fmla="*/ 26 h 142"/>
                <a:gd name="T60" fmla="*/ 33 w 67"/>
                <a:gd name="T61" fmla="*/ 19 h 142"/>
                <a:gd name="T62" fmla="*/ 33 w 67"/>
                <a:gd name="T6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" h="142">
                  <a:moveTo>
                    <a:pt x="66" y="138"/>
                  </a:moveTo>
                  <a:cubicBezTo>
                    <a:pt x="67" y="142"/>
                    <a:pt x="67" y="142"/>
                    <a:pt x="67" y="138"/>
                  </a:cubicBezTo>
                  <a:cubicBezTo>
                    <a:pt x="67" y="116"/>
                    <a:pt x="67" y="53"/>
                    <a:pt x="67" y="31"/>
                  </a:cubicBezTo>
                  <a:cubicBezTo>
                    <a:pt x="67" y="26"/>
                    <a:pt x="67" y="19"/>
                    <a:pt x="66" y="15"/>
                  </a:cubicBezTo>
                  <a:cubicBezTo>
                    <a:pt x="62" y="3"/>
                    <a:pt x="49" y="0"/>
                    <a:pt x="33" y="0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43" y="19"/>
                    <a:pt x="51" y="21"/>
                    <a:pt x="57" y="23"/>
                  </a:cubicBezTo>
                  <a:cubicBezTo>
                    <a:pt x="58" y="24"/>
                    <a:pt x="58" y="25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3" y="26"/>
                    <a:pt x="52" y="26"/>
                    <a:pt x="50" y="25"/>
                  </a:cubicBezTo>
                  <a:cubicBezTo>
                    <a:pt x="46" y="24"/>
                    <a:pt x="40" y="23"/>
                    <a:pt x="33" y="23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43" y="38"/>
                    <a:pt x="51" y="40"/>
                    <a:pt x="57" y="43"/>
                  </a:cubicBezTo>
                  <a:cubicBezTo>
                    <a:pt x="58" y="43"/>
                    <a:pt x="58" y="44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6" y="46"/>
                    <a:pt x="56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3" y="45"/>
                    <a:pt x="52" y="45"/>
                    <a:pt x="50" y="44"/>
                  </a:cubicBezTo>
                  <a:cubicBezTo>
                    <a:pt x="46" y="43"/>
                    <a:pt x="40" y="42"/>
                    <a:pt x="33" y="4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43" y="57"/>
                    <a:pt x="51" y="59"/>
                    <a:pt x="57" y="62"/>
                  </a:cubicBezTo>
                  <a:cubicBezTo>
                    <a:pt x="58" y="62"/>
                    <a:pt x="58" y="63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6" y="65"/>
                    <a:pt x="56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3" y="64"/>
                    <a:pt x="52" y="64"/>
                    <a:pt x="50" y="63"/>
                  </a:cubicBezTo>
                  <a:cubicBezTo>
                    <a:pt x="46" y="62"/>
                    <a:pt x="40" y="61"/>
                    <a:pt x="33" y="61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49" y="122"/>
                    <a:pt x="62" y="126"/>
                    <a:pt x="66" y="138"/>
                  </a:cubicBezTo>
                  <a:close/>
                  <a:moveTo>
                    <a:pt x="33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5" y="3"/>
                    <a:pt x="1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ubicBezTo>
                    <a:pt x="5" y="126"/>
                    <a:pt x="18" y="122"/>
                    <a:pt x="33" y="12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7" y="61"/>
                    <a:pt x="21" y="62"/>
                    <a:pt x="17" y="63"/>
                  </a:cubicBezTo>
                  <a:cubicBezTo>
                    <a:pt x="15" y="64"/>
                    <a:pt x="13" y="64"/>
                    <a:pt x="12" y="65"/>
                  </a:cubicBezTo>
                  <a:cubicBezTo>
                    <a:pt x="11" y="66"/>
                    <a:pt x="10" y="65"/>
                    <a:pt x="9" y="64"/>
                  </a:cubicBezTo>
                  <a:cubicBezTo>
                    <a:pt x="9" y="63"/>
                    <a:pt x="9" y="62"/>
                    <a:pt x="10" y="62"/>
                  </a:cubicBezTo>
                  <a:cubicBezTo>
                    <a:pt x="16" y="59"/>
                    <a:pt x="24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7" y="42"/>
                    <a:pt x="21" y="43"/>
                    <a:pt x="17" y="44"/>
                  </a:cubicBezTo>
                  <a:cubicBezTo>
                    <a:pt x="15" y="45"/>
                    <a:pt x="13" y="45"/>
                    <a:pt x="12" y="46"/>
                  </a:cubicBezTo>
                  <a:cubicBezTo>
                    <a:pt x="11" y="47"/>
                    <a:pt x="10" y="46"/>
                    <a:pt x="9" y="45"/>
                  </a:cubicBezTo>
                  <a:cubicBezTo>
                    <a:pt x="9" y="44"/>
                    <a:pt x="9" y="43"/>
                    <a:pt x="10" y="43"/>
                  </a:cubicBezTo>
                  <a:cubicBezTo>
                    <a:pt x="16" y="40"/>
                    <a:pt x="24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3"/>
                    <a:pt x="21" y="24"/>
                    <a:pt x="17" y="25"/>
                  </a:cubicBezTo>
                  <a:cubicBezTo>
                    <a:pt x="15" y="26"/>
                    <a:pt x="13" y="26"/>
                    <a:pt x="12" y="27"/>
                  </a:cubicBezTo>
                  <a:cubicBezTo>
                    <a:pt x="11" y="27"/>
                    <a:pt x="10" y="27"/>
                    <a:pt x="9" y="26"/>
                  </a:cubicBezTo>
                  <a:cubicBezTo>
                    <a:pt x="9" y="25"/>
                    <a:pt x="9" y="24"/>
                    <a:pt x="10" y="23"/>
                  </a:cubicBezTo>
                  <a:cubicBezTo>
                    <a:pt x="16" y="21"/>
                    <a:pt x="24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  <p:sp>
          <p:nvSpPr>
            <p:cNvPr id="1754" name="任意多边形: 形状 1753"/>
            <p:cNvSpPr/>
            <p:nvPr>
              <p:custDataLst>
                <p:tags r:id="rId346"/>
              </p:custDataLst>
            </p:nvPr>
          </p:nvSpPr>
          <p:spPr bwMode="auto">
            <a:xfrm flipH="1">
              <a:off x="2895644" y="3697186"/>
              <a:ext cx="118531" cy="111756"/>
            </a:xfrm>
            <a:custGeom>
              <a:avLst/>
              <a:gdLst>
                <a:gd name="T0" fmla="*/ 41 w 55"/>
                <a:gd name="T1" fmla="*/ 51 h 55"/>
                <a:gd name="T2" fmla="*/ 52 w 55"/>
                <a:gd name="T3" fmla="*/ 41 h 55"/>
                <a:gd name="T4" fmla="*/ 55 w 55"/>
                <a:gd name="T5" fmla="*/ 33 h 55"/>
                <a:gd name="T6" fmla="*/ 55 w 55"/>
                <a:gd name="T7" fmla="*/ 22 h 55"/>
                <a:gd name="T8" fmla="*/ 52 w 55"/>
                <a:gd name="T9" fmla="*/ 14 h 55"/>
                <a:gd name="T10" fmla="*/ 41 w 55"/>
                <a:gd name="T11" fmla="*/ 4 h 55"/>
                <a:gd name="T12" fmla="*/ 38 w 55"/>
                <a:gd name="T13" fmla="*/ 2 h 55"/>
                <a:gd name="T14" fmla="*/ 30 w 55"/>
                <a:gd name="T15" fmla="*/ 0 h 55"/>
                <a:gd name="T16" fmla="*/ 31 w 55"/>
                <a:gd name="T17" fmla="*/ 3 h 55"/>
                <a:gd name="T18" fmla="*/ 34 w 55"/>
                <a:gd name="T19" fmla="*/ 3 h 55"/>
                <a:gd name="T20" fmla="*/ 37 w 55"/>
                <a:gd name="T21" fmla="*/ 4 h 55"/>
                <a:gd name="T22" fmla="*/ 36 w 55"/>
                <a:gd name="T23" fmla="*/ 5 h 55"/>
                <a:gd name="T24" fmla="*/ 32 w 55"/>
                <a:gd name="T25" fmla="*/ 6 h 55"/>
                <a:gd name="T26" fmla="*/ 33 w 55"/>
                <a:gd name="T27" fmla="*/ 9 h 55"/>
                <a:gd name="T28" fmla="*/ 35 w 55"/>
                <a:gd name="T29" fmla="*/ 11 h 55"/>
                <a:gd name="T30" fmla="*/ 39 w 55"/>
                <a:gd name="T31" fmla="*/ 6 h 55"/>
                <a:gd name="T32" fmla="*/ 42 w 55"/>
                <a:gd name="T33" fmla="*/ 7 h 55"/>
                <a:gd name="T34" fmla="*/ 44 w 55"/>
                <a:gd name="T35" fmla="*/ 8 h 55"/>
                <a:gd name="T36" fmla="*/ 46 w 55"/>
                <a:gd name="T37" fmla="*/ 12 h 55"/>
                <a:gd name="T38" fmla="*/ 45 w 55"/>
                <a:gd name="T39" fmla="*/ 13 h 55"/>
                <a:gd name="T40" fmla="*/ 43 w 55"/>
                <a:gd name="T41" fmla="*/ 12 h 55"/>
                <a:gd name="T42" fmla="*/ 40 w 55"/>
                <a:gd name="T43" fmla="*/ 13 h 55"/>
                <a:gd name="T44" fmla="*/ 42 w 55"/>
                <a:gd name="T45" fmla="*/ 14 h 55"/>
                <a:gd name="T46" fmla="*/ 37 w 55"/>
                <a:gd name="T47" fmla="*/ 16 h 55"/>
                <a:gd name="T48" fmla="*/ 34 w 55"/>
                <a:gd name="T49" fmla="*/ 18 h 55"/>
                <a:gd name="T50" fmla="*/ 30 w 55"/>
                <a:gd name="T51" fmla="*/ 21 h 55"/>
                <a:gd name="T52" fmla="*/ 32 w 55"/>
                <a:gd name="T53" fmla="*/ 33 h 55"/>
                <a:gd name="T54" fmla="*/ 35 w 55"/>
                <a:gd name="T55" fmla="*/ 34 h 55"/>
                <a:gd name="T56" fmla="*/ 38 w 55"/>
                <a:gd name="T57" fmla="*/ 35 h 55"/>
                <a:gd name="T58" fmla="*/ 43 w 55"/>
                <a:gd name="T59" fmla="*/ 37 h 55"/>
                <a:gd name="T60" fmla="*/ 46 w 55"/>
                <a:gd name="T61" fmla="*/ 40 h 55"/>
                <a:gd name="T62" fmla="*/ 50 w 55"/>
                <a:gd name="T63" fmla="*/ 41 h 55"/>
                <a:gd name="T64" fmla="*/ 32 w 55"/>
                <a:gd name="T65" fmla="*/ 48 h 55"/>
                <a:gd name="T66" fmla="*/ 1 w 55"/>
                <a:gd name="T67" fmla="*/ 24 h 55"/>
                <a:gd name="T68" fmla="*/ 1 w 55"/>
                <a:gd name="T69" fmla="*/ 35 h 55"/>
                <a:gd name="T70" fmla="*/ 6 w 55"/>
                <a:gd name="T71" fmla="*/ 45 h 55"/>
                <a:gd name="T72" fmla="*/ 18 w 55"/>
                <a:gd name="T73" fmla="*/ 53 h 55"/>
                <a:gd name="T74" fmla="*/ 28 w 55"/>
                <a:gd name="T75" fmla="*/ 44 h 55"/>
                <a:gd name="T76" fmla="*/ 27 w 55"/>
                <a:gd name="T77" fmla="*/ 39 h 55"/>
                <a:gd name="T78" fmla="*/ 29 w 55"/>
                <a:gd name="T79" fmla="*/ 35 h 55"/>
                <a:gd name="T80" fmla="*/ 25 w 55"/>
                <a:gd name="T81" fmla="*/ 34 h 55"/>
                <a:gd name="T82" fmla="*/ 22 w 55"/>
                <a:gd name="T83" fmla="*/ 32 h 55"/>
                <a:gd name="T84" fmla="*/ 16 w 55"/>
                <a:gd name="T85" fmla="*/ 29 h 55"/>
                <a:gd name="T86" fmla="*/ 14 w 55"/>
                <a:gd name="T87" fmla="*/ 25 h 55"/>
                <a:gd name="T88" fmla="*/ 12 w 55"/>
                <a:gd name="T89" fmla="*/ 24 h 55"/>
                <a:gd name="T90" fmla="*/ 12 w 55"/>
                <a:gd name="T91" fmla="*/ 25 h 55"/>
                <a:gd name="T92" fmla="*/ 10 w 55"/>
                <a:gd name="T93" fmla="*/ 21 h 55"/>
                <a:gd name="T94" fmla="*/ 10 w 55"/>
                <a:gd name="T95" fmla="*/ 16 h 55"/>
                <a:gd name="T96" fmla="*/ 12 w 55"/>
                <a:gd name="T97" fmla="*/ 11 h 55"/>
                <a:gd name="T98" fmla="*/ 12 w 55"/>
                <a:gd name="T99" fmla="*/ 8 h 55"/>
                <a:gd name="T100" fmla="*/ 25 w 55"/>
                <a:gd name="T101" fmla="*/ 2 h 55"/>
                <a:gd name="T102" fmla="*/ 30 w 55"/>
                <a:gd name="T103" fmla="*/ 0 h 55"/>
                <a:gd name="T104" fmla="*/ 17 w 55"/>
                <a:gd name="T105" fmla="*/ 2 h 55"/>
                <a:gd name="T106" fmla="*/ 8 w 55"/>
                <a:gd name="T107" fmla="*/ 8 h 55"/>
                <a:gd name="T108" fmla="*/ 2 w 55"/>
                <a:gd name="T109" fmla="*/ 18 h 55"/>
                <a:gd name="T110" fmla="*/ 29 w 55"/>
                <a:gd name="T111" fmla="*/ 35 h 55"/>
                <a:gd name="T112" fmla="*/ 26 w 55"/>
                <a:gd name="T113" fmla="*/ 31 h 55"/>
                <a:gd name="T114" fmla="*/ 25 w 55"/>
                <a:gd name="T115" fmla="*/ 28 h 55"/>
                <a:gd name="T116" fmla="*/ 20 w 55"/>
                <a:gd name="T117" fmla="*/ 29 h 55"/>
                <a:gd name="T118" fmla="*/ 22 w 55"/>
                <a:gd name="T119" fmla="*/ 23 h 55"/>
                <a:gd name="T120" fmla="*/ 27 w 55"/>
                <a:gd name="T121" fmla="*/ 23 h 55"/>
                <a:gd name="T122" fmla="*/ 29 w 55"/>
                <a:gd name="T123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55">
                  <a:moveTo>
                    <a:pt x="30" y="55"/>
                  </a:moveTo>
                  <a:cubicBezTo>
                    <a:pt x="31" y="55"/>
                    <a:pt x="33" y="55"/>
                    <a:pt x="34" y="54"/>
                  </a:cubicBezTo>
                  <a:cubicBezTo>
                    <a:pt x="35" y="54"/>
                    <a:pt x="36" y="54"/>
                    <a:pt x="37" y="54"/>
                  </a:cubicBezTo>
                  <a:cubicBezTo>
                    <a:pt x="37" y="54"/>
                    <a:pt x="37" y="53"/>
                    <a:pt x="38" y="53"/>
                  </a:cubicBezTo>
                  <a:cubicBezTo>
                    <a:pt x="39" y="53"/>
                    <a:pt x="39" y="53"/>
                    <a:pt x="40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3" y="50"/>
                    <a:pt x="45" y="49"/>
                    <a:pt x="46" y="48"/>
                  </a:cubicBezTo>
                  <a:cubicBezTo>
                    <a:pt x="47" y="48"/>
                    <a:pt x="47" y="47"/>
                    <a:pt x="47" y="47"/>
                  </a:cubicBezTo>
                  <a:cubicBezTo>
                    <a:pt x="47" y="47"/>
                    <a:pt x="48" y="46"/>
                    <a:pt x="48" y="46"/>
                  </a:cubicBezTo>
                  <a:cubicBezTo>
                    <a:pt x="49" y="46"/>
                    <a:pt x="49" y="45"/>
                    <a:pt x="49" y="45"/>
                  </a:cubicBezTo>
                  <a:cubicBezTo>
                    <a:pt x="50" y="44"/>
                    <a:pt x="51" y="43"/>
                    <a:pt x="51" y="42"/>
                  </a:cubicBezTo>
                  <a:cubicBezTo>
                    <a:pt x="51" y="42"/>
                    <a:pt x="51" y="42"/>
                    <a:pt x="52" y="41"/>
                  </a:cubicBezTo>
                  <a:cubicBezTo>
                    <a:pt x="52" y="41"/>
                    <a:pt x="52" y="41"/>
                    <a:pt x="52" y="40"/>
                  </a:cubicBezTo>
                  <a:cubicBezTo>
                    <a:pt x="52" y="40"/>
                    <a:pt x="52" y="40"/>
                    <a:pt x="53" y="40"/>
                  </a:cubicBezTo>
                  <a:cubicBezTo>
                    <a:pt x="53" y="39"/>
                    <a:pt x="53" y="39"/>
                    <a:pt x="53" y="38"/>
                  </a:cubicBezTo>
                  <a:cubicBezTo>
                    <a:pt x="53" y="38"/>
                    <a:pt x="53" y="38"/>
                    <a:pt x="54" y="37"/>
                  </a:cubicBezTo>
                  <a:cubicBezTo>
                    <a:pt x="54" y="36"/>
                    <a:pt x="54" y="35"/>
                    <a:pt x="54" y="35"/>
                  </a:cubicBezTo>
                  <a:cubicBezTo>
                    <a:pt x="54" y="34"/>
                    <a:pt x="55" y="34"/>
                    <a:pt x="55" y="33"/>
                  </a:cubicBezTo>
                  <a:cubicBezTo>
                    <a:pt x="55" y="33"/>
                    <a:pt x="55" y="32"/>
                    <a:pt x="55" y="32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8"/>
                  </a:cubicBezTo>
                  <a:cubicBezTo>
                    <a:pt x="55" y="27"/>
                    <a:pt x="55" y="26"/>
                    <a:pt x="55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5" y="22"/>
                    <a:pt x="54" y="21"/>
                    <a:pt x="54" y="21"/>
                  </a:cubicBezTo>
                  <a:cubicBezTo>
                    <a:pt x="54" y="20"/>
                    <a:pt x="54" y="19"/>
                    <a:pt x="54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2" y="16"/>
                    <a:pt x="52" y="15"/>
                    <a:pt x="52" y="15"/>
                  </a:cubicBezTo>
                  <a:cubicBezTo>
                    <a:pt x="52" y="15"/>
                    <a:pt x="52" y="14"/>
                    <a:pt x="52" y="14"/>
                  </a:cubicBezTo>
                  <a:cubicBezTo>
                    <a:pt x="51" y="13"/>
                    <a:pt x="50" y="12"/>
                    <a:pt x="49" y="11"/>
                  </a:cubicBezTo>
                  <a:cubicBezTo>
                    <a:pt x="49" y="10"/>
                    <a:pt x="49" y="10"/>
                    <a:pt x="48" y="9"/>
                  </a:cubicBezTo>
                  <a:cubicBezTo>
                    <a:pt x="48" y="9"/>
                    <a:pt x="47" y="9"/>
                    <a:pt x="47" y="8"/>
                  </a:cubicBezTo>
                  <a:cubicBezTo>
                    <a:pt x="47" y="8"/>
                    <a:pt x="47" y="8"/>
                    <a:pt x="46" y="7"/>
                  </a:cubicBezTo>
                  <a:cubicBezTo>
                    <a:pt x="46" y="7"/>
                    <a:pt x="45" y="6"/>
                    <a:pt x="44" y="6"/>
                  </a:cubicBezTo>
                  <a:cubicBezTo>
                    <a:pt x="43" y="5"/>
                    <a:pt x="42" y="4"/>
                    <a:pt x="41" y="4"/>
                  </a:cubicBezTo>
                  <a:cubicBezTo>
                    <a:pt x="41" y="4"/>
                    <a:pt x="41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1"/>
                  </a:cubicBezTo>
                  <a:cubicBezTo>
                    <a:pt x="34" y="1"/>
                    <a:pt x="34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1" y="2"/>
                    <a:pt x="32" y="2"/>
                    <a:pt x="33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2" y="3"/>
                    <a:pt x="3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34" y="3"/>
                    <a:pt x="34" y="2"/>
                    <a:pt x="34" y="2"/>
                  </a:cubicBezTo>
                  <a:cubicBezTo>
                    <a:pt x="34" y="2"/>
                    <a:pt x="34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4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3"/>
                    <a:pt x="36" y="3"/>
                    <a:pt x="37" y="3"/>
                  </a:cubicBezTo>
                  <a:cubicBezTo>
                    <a:pt x="37" y="3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7" y="4"/>
                  </a:cubicBezTo>
                  <a:cubicBezTo>
                    <a:pt x="37" y="4"/>
                    <a:pt x="38" y="4"/>
                    <a:pt x="38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5"/>
                    <a:pt x="36" y="6"/>
                    <a:pt x="36" y="5"/>
                  </a:cubicBezTo>
                  <a:cubicBezTo>
                    <a:pt x="36" y="5"/>
                    <a:pt x="37" y="5"/>
                    <a:pt x="37" y="4"/>
                  </a:cubicBezTo>
                  <a:cubicBezTo>
                    <a:pt x="37" y="4"/>
                    <a:pt x="37" y="4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5"/>
                    <a:pt x="34" y="5"/>
                    <a:pt x="34" y="6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9"/>
                    <a:pt x="33" y="9"/>
                  </a:cubicBezTo>
                  <a:cubicBezTo>
                    <a:pt x="33" y="9"/>
                    <a:pt x="33" y="9"/>
                    <a:pt x="34" y="9"/>
                  </a:cubicBezTo>
                  <a:cubicBezTo>
                    <a:pt x="34" y="9"/>
                    <a:pt x="35" y="9"/>
                    <a:pt x="35" y="10"/>
                  </a:cubicBezTo>
                  <a:cubicBezTo>
                    <a:pt x="35" y="10"/>
                    <a:pt x="34" y="10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1"/>
                    <a:pt x="34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0"/>
                    <a:pt x="35" y="10"/>
                    <a:pt x="36" y="10"/>
                  </a:cubicBezTo>
                  <a:cubicBezTo>
                    <a:pt x="37" y="10"/>
                    <a:pt x="38" y="9"/>
                    <a:pt x="38" y="8"/>
                  </a:cubicBezTo>
                  <a:cubicBezTo>
                    <a:pt x="38" y="8"/>
                    <a:pt x="38" y="7"/>
                    <a:pt x="38" y="7"/>
                  </a:cubicBezTo>
                  <a:cubicBezTo>
                    <a:pt x="38" y="7"/>
                    <a:pt x="39" y="7"/>
                    <a:pt x="38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2" y="6"/>
                  </a:cubicBezTo>
                  <a:cubicBezTo>
                    <a:pt x="42" y="6"/>
                    <a:pt x="42" y="6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3" y="8"/>
                    <a:pt x="43" y="8"/>
                  </a:cubicBezTo>
                  <a:cubicBezTo>
                    <a:pt x="43" y="7"/>
                    <a:pt x="43" y="7"/>
                    <a:pt x="44" y="7"/>
                  </a:cubicBezTo>
                  <a:cubicBezTo>
                    <a:pt x="44" y="7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5" y="8"/>
                    <a:pt x="44" y="9"/>
                    <a:pt x="44" y="9"/>
                  </a:cubicBezTo>
                  <a:cubicBezTo>
                    <a:pt x="44" y="9"/>
                    <a:pt x="45" y="9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1"/>
                    <a:pt x="46" y="11"/>
                    <a:pt x="4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6" y="12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4"/>
                    <a:pt x="46" y="14"/>
                  </a:cubicBezTo>
                  <a:cubicBezTo>
                    <a:pt x="46" y="14"/>
                    <a:pt x="46" y="14"/>
                    <a:pt x="45" y="14"/>
                  </a:cubicBezTo>
                  <a:cubicBezTo>
                    <a:pt x="45" y="13"/>
                    <a:pt x="45" y="14"/>
                    <a:pt x="45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4" y="13"/>
                    <a:pt x="44" y="13"/>
                    <a:pt x="43" y="13"/>
                  </a:cubicBezTo>
                  <a:cubicBezTo>
                    <a:pt x="44" y="13"/>
                    <a:pt x="44" y="12"/>
                    <a:pt x="45" y="12"/>
                  </a:cubicBezTo>
                  <a:cubicBezTo>
                    <a:pt x="45" y="12"/>
                    <a:pt x="45" y="12"/>
                    <a:pt x="45" y="11"/>
                  </a:cubicBezTo>
                  <a:cubicBezTo>
                    <a:pt x="45" y="11"/>
                    <a:pt x="44" y="11"/>
                    <a:pt x="44" y="12"/>
                  </a:cubicBezTo>
                  <a:cubicBezTo>
                    <a:pt x="44" y="12"/>
                    <a:pt x="44" y="12"/>
                    <a:pt x="43" y="12"/>
                  </a:cubicBezTo>
                  <a:cubicBezTo>
                    <a:pt x="43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0" y="12"/>
                    <a:pt x="40" y="12"/>
                    <a:pt x="40" y="13"/>
                  </a:cubicBezTo>
                  <a:cubicBezTo>
                    <a:pt x="40" y="13"/>
                    <a:pt x="41" y="12"/>
                    <a:pt x="41" y="13"/>
                  </a:cubicBezTo>
                  <a:cubicBezTo>
                    <a:pt x="41" y="13"/>
                    <a:pt x="40" y="13"/>
                    <a:pt x="40" y="14"/>
                  </a:cubicBezTo>
                  <a:cubicBezTo>
                    <a:pt x="40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4"/>
                    <a:pt x="42" y="15"/>
                    <a:pt x="42" y="15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39" y="16"/>
                    <a:pt x="39" y="15"/>
                  </a:cubicBezTo>
                  <a:cubicBezTo>
                    <a:pt x="39" y="15"/>
                    <a:pt x="39" y="15"/>
                    <a:pt x="40" y="15"/>
                  </a:cubicBezTo>
                  <a:cubicBezTo>
                    <a:pt x="39" y="15"/>
                    <a:pt x="39" y="15"/>
                    <a:pt x="38" y="15"/>
                  </a:cubicBezTo>
                  <a:cubicBezTo>
                    <a:pt x="38" y="15"/>
                    <a:pt x="37" y="15"/>
                    <a:pt x="37" y="16"/>
                  </a:cubicBezTo>
                  <a:cubicBezTo>
                    <a:pt x="36" y="16"/>
                    <a:pt x="37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3" y="19"/>
                    <a:pt x="33" y="19"/>
                  </a:cubicBezTo>
                  <a:cubicBezTo>
                    <a:pt x="33" y="19"/>
                    <a:pt x="33" y="18"/>
                    <a:pt x="33" y="19"/>
                  </a:cubicBezTo>
                  <a:cubicBezTo>
                    <a:pt x="33" y="19"/>
                    <a:pt x="33" y="19"/>
                    <a:pt x="33" y="20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30" y="21"/>
                    <a:pt x="30" y="22"/>
                    <a:pt x="30" y="22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3"/>
                    <a:pt x="31" y="33"/>
                  </a:cubicBezTo>
                  <a:cubicBezTo>
                    <a:pt x="31" y="33"/>
                    <a:pt x="31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2"/>
                    <a:pt x="32" y="33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4"/>
                  </a:cubicBezTo>
                  <a:cubicBezTo>
                    <a:pt x="35" y="34"/>
                    <a:pt x="35" y="33"/>
                    <a:pt x="35" y="34"/>
                  </a:cubicBezTo>
                  <a:cubicBezTo>
                    <a:pt x="35" y="34"/>
                    <a:pt x="36" y="34"/>
                    <a:pt x="36" y="34"/>
                  </a:cubicBezTo>
                  <a:cubicBezTo>
                    <a:pt x="36" y="34"/>
                    <a:pt x="36" y="33"/>
                    <a:pt x="36" y="33"/>
                  </a:cubicBezTo>
                  <a:cubicBezTo>
                    <a:pt x="37" y="33"/>
                    <a:pt x="37" y="34"/>
                    <a:pt x="37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5"/>
                  </a:cubicBezTo>
                  <a:cubicBezTo>
                    <a:pt x="38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2" y="36"/>
                    <a:pt x="42" y="36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8"/>
                    <a:pt x="43" y="38"/>
                  </a:cubicBezTo>
                  <a:cubicBezTo>
                    <a:pt x="43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6" y="40"/>
                    <a:pt x="46" y="40"/>
                  </a:cubicBezTo>
                  <a:cubicBezTo>
                    <a:pt x="46" y="40"/>
                    <a:pt x="46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50" y="41"/>
                    <a:pt x="50" y="41"/>
                  </a:cubicBezTo>
                  <a:cubicBezTo>
                    <a:pt x="46" y="47"/>
                    <a:pt x="41" y="51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1"/>
                    <a:pt x="34" y="51"/>
                  </a:cubicBezTo>
                  <a:cubicBezTo>
                    <a:pt x="34" y="50"/>
                    <a:pt x="34" y="50"/>
                    <a:pt x="33" y="49"/>
                  </a:cubicBezTo>
                  <a:cubicBezTo>
                    <a:pt x="33" y="49"/>
                    <a:pt x="33" y="49"/>
                    <a:pt x="32" y="49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0" y="48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6"/>
                    <a:pt x="30" y="46"/>
                    <a:pt x="30" y="46"/>
                  </a:cubicBezTo>
                  <a:lnTo>
                    <a:pt x="30" y="55"/>
                  </a:lnTo>
                  <a:close/>
                  <a:moveTo>
                    <a:pt x="1" y="22"/>
                  </a:moveTo>
                  <a:cubicBezTo>
                    <a:pt x="1" y="23"/>
                    <a:pt x="1" y="23"/>
                    <a:pt x="1" y="24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0" y="29"/>
                    <a:pt x="0" y="30"/>
                    <a:pt x="1" y="30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4"/>
                    <a:pt x="1" y="34"/>
                    <a:pt x="1" y="35"/>
                  </a:cubicBezTo>
                  <a:cubicBezTo>
                    <a:pt x="1" y="35"/>
                    <a:pt x="2" y="36"/>
                    <a:pt x="2" y="37"/>
                  </a:cubicBezTo>
                  <a:cubicBezTo>
                    <a:pt x="2" y="38"/>
                    <a:pt x="2" y="38"/>
                    <a:pt x="3" y="38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5" y="42"/>
                    <a:pt x="5" y="44"/>
                    <a:pt x="6" y="45"/>
                  </a:cubicBezTo>
                  <a:cubicBezTo>
                    <a:pt x="7" y="45"/>
                    <a:pt x="7" y="46"/>
                    <a:pt x="7" y="46"/>
                  </a:cubicBezTo>
                  <a:cubicBezTo>
                    <a:pt x="8" y="46"/>
                    <a:pt x="8" y="47"/>
                    <a:pt x="8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1" y="49"/>
                    <a:pt x="12" y="50"/>
                    <a:pt x="14" y="51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3"/>
                    <a:pt x="17" y="53"/>
                    <a:pt x="18" y="53"/>
                  </a:cubicBezTo>
                  <a:cubicBezTo>
                    <a:pt x="18" y="53"/>
                    <a:pt x="19" y="54"/>
                    <a:pt x="19" y="54"/>
                  </a:cubicBezTo>
                  <a:cubicBezTo>
                    <a:pt x="22" y="55"/>
                    <a:pt x="25" y="55"/>
                    <a:pt x="28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29" y="46"/>
                    <a:pt x="29" y="46"/>
                  </a:cubicBezTo>
                  <a:cubicBezTo>
                    <a:pt x="29" y="45"/>
                    <a:pt x="29" y="44"/>
                    <a:pt x="28" y="44"/>
                  </a:cubicBezTo>
                  <a:cubicBezTo>
                    <a:pt x="28" y="44"/>
                    <a:pt x="28" y="43"/>
                    <a:pt x="28" y="43"/>
                  </a:cubicBezTo>
                  <a:cubicBezTo>
                    <a:pt x="28" y="43"/>
                    <a:pt x="27" y="43"/>
                    <a:pt x="27" y="4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8" y="41"/>
                    <a:pt x="27" y="41"/>
                    <a:pt x="27" y="40"/>
                  </a:cubicBezTo>
                  <a:cubicBezTo>
                    <a:pt x="27" y="40"/>
                    <a:pt x="27" y="40"/>
                    <a:pt x="27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9" y="35"/>
                    <a:pt x="29" y="34"/>
                    <a:pt x="28" y="34"/>
                  </a:cubicBezTo>
                  <a:cubicBezTo>
                    <a:pt x="28" y="34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4"/>
                    <a:pt x="25" y="33"/>
                    <a:pt x="25" y="33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4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31"/>
                    <a:pt x="21" y="30"/>
                    <a:pt x="20" y="30"/>
                  </a:cubicBezTo>
                  <a:cubicBezTo>
                    <a:pt x="20" y="30"/>
                    <a:pt x="20" y="31"/>
                    <a:pt x="19" y="31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8" y="30"/>
                    <a:pt x="18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5" y="29"/>
                    <a:pt x="15" y="29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7"/>
                    <a:pt x="15" y="27"/>
                    <a:pt x="14" y="26"/>
                  </a:cubicBezTo>
                  <a:cubicBezTo>
                    <a:pt x="14" y="26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3" y="24"/>
                    <a:pt x="13" y="24"/>
                  </a:cubicBezTo>
                  <a:cubicBezTo>
                    <a:pt x="13" y="24"/>
                    <a:pt x="13" y="24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2" y="22"/>
                    <a:pt x="12" y="22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3" y="25"/>
                    <a:pt x="13" y="25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6"/>
                    <a:pt x="13" y="26"/>
                    <a:pt x="13" y="27"/>
                  </a:cubicBezTo>
                  <a:cubicBezTo>
                    <a:pt x="13" y="27"/>
                    <a:pt x="13" y="26"/>
                    <a:pt x="13" y="26"/>
                  </a:cubicBezTo>
                  <a:cubicBezTo>
                    <a:pt x="13" y="26"/>
                    <a:pt x="12" y="26"/>
                    <a:pt x="12" y="26"/>
                  </a:cubicBezTo>
                  <a:cubicBezTo>
                    <a:pt x="12" y="26"/>
                    <a:pt x="12" y="25"/>
                    <a:pt x="12" y="25"/>
                  </a:cubicBezTo>
                  <a:cubicBezTo>
                    <a:pt x="12" y="25"/>
                    <a:pt x="11" y="25"/>
                    <a:pt x="11" y="24"/>
                  </a:cubicBezTo>
                  <a:cubicBezTo>
                    <a:pt x="11" y="24"/>
                    <a:pt x="12" y="24"/>
                    <a:pt x="12" y="24"/>
                  </a:cubicBezTo>
                  <a:cubicBezTo>
                    <a:pt x="12" y="23"/>
                    <a:pt x="11" y="23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1" y="22"/>
                    <a:pt x="11" y="21"/>
                    <a:pt x="11" y="21"/>
                  </a:cubicBezTo>
                  <a:cubicBezTo>
                    <a:pt x="11" y="21"/>
                    <a:pt x="11" y="21"/>
                    <a:pt x="10" y="21"/>
                  </a:cubicBezTo>
                  <a:cubicBezTo>
                    <a:pt x="10" y="21"/>
                    <a:pt x="10" y="21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19"/>
                    <a:pt x="10" y="19"/>
                    <a:pt x="10" y="18"/>
                  </a:cubicBezTo>
                  <a:cubicBezTo>
                    <a:pt x="10" y="18"/>
                    <a:pt x="9" y="18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5"/>
                    <a:pt x="11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5" y="5"/>
                    <a:pt x="19" y="3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5" y="2"/>
                    <a:pt x="25" y="2"/>
                  </a:cubicBezTo>
                  <a:cubicBezTo>
                    <a:pt x="26" y="2"/>
                    <a:pt x="26" y="3"/>
                    <a:pt x="27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8" y="2"/>
                    <a:pt x="28" y="2"/>
                  </a:cubicBezTo>
                  <a:cubicBezTo>
                    <a:pt x="28" y="2"/>
                    <a:pt x="29" y="2"/>
                    <a:pt x="30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9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4" y="0"/>
                    <a:pt x="22" y="1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7" y="2"/>
                    <a:pt x="17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4"/>
                    <a:pt x="14" y="4"/>
                  </a:cubicBezTo>
                  <a:cubicBezTo>
                    <a:pt x="13" y="5"/>
                    <a:pt x="11" y="6"/>
                    <a:pt x="10" y="7"/>
                  </a:cubicBezTo>
                  <a:cubicBezTo>
                    <a:pt x="10" y="7"/>
                    <a:pt x="10" y="7"/>
                    <a:pt x="9" y="7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7" y="10"/>
                    <a:pt x="7" y="10"/>
                    <a:pt x="6" y="11"/>
                  </a:cubicBezTo>
                  <a:cubicBezTo>
                    <a:pt x="5" y="12"/>
                    <a:pt x="5" y="13"/>
                    <a:pt x="4" y="14"/>
                  </a:cubicBezTo>
                  <a:cubicBezTo>
                    <a:pt x="4" y="14"/>
                    <a:pt x="4" y="15"/>
                    <a:pt x="3" y="15"/>
                  </a:cubicBezTo>
                  <a:cubicBezTo>
                    <a:pt x="3" y="15"/>
                    <a:pt x="3" y="16"/>
                    <a:pt x="3" y="16"/>
                  </a:cubicBezTo>
                  <a:cubicBezTo>
                    <a:pt x="3" y="16"/>
                    <a:pt x="3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lose/>
                  <a:moveTo>
                    <a:pt x="30" y="22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28" y="34"/>
                    <a:pt x="28" y="34"/>
                    <a:pt x="27" y="34"/>
                  </a:cubicBezTo>
                  <a:cubicBezTo>
                    <a:pt x="27" y="34"/>
                    <a:pt x="26" y="34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26" y="32"/>
                    <a:pt x="26" y="32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28"/>
                    <a:pt x="25" y="28"/>
                    <a:pt x="24" y="28"/>
                  </a:cubicBezTo>
                  <a:cubicBezTo>
                    <a:pt x="24" y="28"/>
                    <a:pt x="24" y="28"/>
                    <a:pt x="23" y="28"/>
                  </a:cubicBezTo>
                  <a:cubicBezTo>
                    <a:pt x="23" y="28"/>
                    <a:pt x="23" y="29"/>
                    <a:pt x="22" y="29"/>
                  </a:cubicBezTo>
                  <a:cubicBezTo>
                    <a:pt x="22" y="29"/>
                    <a:pt x="22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0" y="29"/>
                    <a:pt x="20" y="29"/>
                  </a:cubicBezTo>
                  <a:cubicBezTo>
                    <a:pt x="20" y="29"/>
                    <a:pt x="19" y="28"/>
                    <a:pt x="19" y="28"/>
                  </a:cubicBezTo>
                  <a:cubicBezTo>
                    <a:pt x="19" y="27"/>
                    <a:pt x="19" y="26"/>
                    <a:pt x="20" y="26"/>
                  </a:cubicBezTo>
                  <a:cubicBezTo>
                    <a:pt x="20" y="26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6" y="23"/>
                    <a:pt x="26" y="23"/>
                  </a:cubicBezTo>
                  <a:cubicBezTo>
                    <a:pt x="26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3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5"/>
                    <a:pt x="29" y="25"/>
                    <a:pt x="29" y="25"/>
                  </a:cubicBezTo>
                  <a:cubicBezTo>
                    <a:pt x="29" y="25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30" y="2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07" name="矩形 1406"/>
          <p:cNvSpPr/>
          <p:nvPr>
            <p:custDataLst>
              <p:tags r:id="rId2"/>
            </p:custDataLst>
          </p:nvPr>
        </p:nvSpPr>
        <p:spPr>
          <a:xfrm>
            <a:off x="5571266" y="1357323"/>
            <a:ext cx="5773118" cy="15962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Unified fonts make reading more fluent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>
                <a:solidFill>
                  <a:schemeClr val="dk1"/>
                </a:solidFill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1421" name="椭圆 1420"/>
          <p:cNvSpPr/>
          <p:nvPr>
            <p:custDataLst>
              <p:tags r:id="rId3"/>
            </p:custDataLst>
          </p:nvPr>
        </p:nvSpPr>
        <p:spPr bwMode="auto">
          <a:xfrm>
            <a:off x="5951532" y="3752582"/>
            <a:ext cx="1028072" cy="103262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22" name="文本框 1421"/>
          <p:cNvSpPr txBox="1"/>
          <p:nvPr>
            <p:custDataLst>
              <p:tags r:id="rId4"/>
            </p:custDataLst>
          </p:nvPr>
        </p:nvSpPr>
        <p:spPr>
          <a:xfrm>
            <a:off x="5659066" y="3300430"/>
            <a:ext cx="1613004" cy="391536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u="sng" dirty="0">
                <a:solidFill>
                  <a:schemeClr val="dk1"/>
                </a:solidFill>
                <a:cs typeface="+mn-ea"/>
                <a:sym typeface="+mn-lt"/>
              </a:rPr>
              <a:t>Supporting text here. </a:t>
            </a:r>
          </a:p>
        </p:txBody>
      </p:sp>
      <p:sp>
        <p:nvSpPr>
          <p:cNvPr id="1423" name="矩形 1422"/>
          <p:cNvSpPr/>
          <p:nvPr>
            <p:custDataLst>
              <p:tags r:id="rId5"/>
            </p:custDataLst>
          </p:nvPr>
        </p:nvSpPr>
        <p:spPr>
          <a:xfrm>
            <a:off x="6116755" y="5073595"/>
            <a:ext cx="697627" cy="40011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>
                <a:solidFill>
                  <a:schemeClr val="dk1"/>
                </a:solidFill>
                <a:cs typeface="+mn-ea"/>
                <a:sym typeface="+mn-lt"/>
              </a:rPr>
              <a:t>21%</a:t>
            </a:r>
          </a:p>
        </p:txBody>
      </p:sp>
      <p:sp>
        <p:nvSpPr>
          <p:cNvPr id="1424" name="任意多边形: 形状 1423"/>
          <p:cNvSpPr/>
          <p:nvPr>
            <p:custDataLst>
              <p:tags r:id="rId6"/>
            </p:custDataLst>
          </p:nvPr>
        </p:nvSpPr>
        <p:spPr bwMode="auto">
          <a:xfrm>
            <a:off x="6241311" y="4090316"/>
            <a:ext cx="448514" cy="357150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17" name="椭圆 1416"/>
          <p:cNvSpPr/>
          <p:nvPr>
            <p:custDataLst>
              <p:tags r:id="rId7"/>
            </p:custDataLst>
          </p:nvPr>
        </p:nvSpPr>
        <p:spPr bwMode="auto">
          <a:xfrm>
            <a:off x="7943789" y="3752582"/>
            <a:ext cx="1028072" cy="103262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18" name="文本框 1417"/>
          <p:cNvSpPr txBox="1"/>
          <p:nvPr>
            <p:custDataLst>
              <p:tags r:id="rId8"/>
            </p:custDataLst>
          </p:nvPr>
        </p:nvSpPr>
        <p:spPr>
          <a:xfrm>
            <a:off x="7651323" y="3300430"/>
            <a:ext cx="1613004" cy="391536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u="sng" dirty="0">
                <a:solidFill>
                  <a:schemeClr val="dk1"/>
                </a:solidFill>
                <a:cs typeface="+mn-ea"/>
                <a:sym typeface="+mn-lt"/>
              </a:rPr>
              <a:t>Supporting text here. </a:t>
            </a:r>
          </a:p>
        </p:txBody>
      </p:sp>
      <p:sp>
        <p:nvSpPr>
          <p:cNvPr id="1419" name="矩形 1418"/>
          <p:cNvSpPr/>
          <p:nvPr>
            <p:custDataLst>
              <p:tags r:id="rId9"/>
            </p:custDataLst>
          </p:nvPr>
        </p:nvSpPr>
        <p:spPr>
          <a:xfrm>
            <a:off x="8109012" y="5073595"/>
            <a:ext cx="697627" cy="40011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>
                <a:solidFill>
                  <a:schemeClr val="dk1"/>
                </a:solidFill>
                <a:cs typeface="+mn-ea"/>
                <a:sym typeface="+mn-lt"/>
              </a:rPr>
              <a:t>35%</a:t>
            </a:r>
          </a:p>
        </p:txBody>
      </p:sp>
      <p:sp>
        <p:nvSpPr>
          <p:cNvPr id="1420" name="任意多边形: 形状 1419"/>
          <p:cNvSpPr/>
          <p:nvPr>
            <p:custDataLst>
              <p:tags r:id="rId10"/>
            </p:custDataLst>
          </p:nvPr>
        </p:nvSpPr>
        <p:spPr bwMode="auto">
          <a:xfrm>
            <a:off x="8233569" y="4082193"/>
            <a:ext cx="448514" cy="373394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13" name="椭圆 1412"/>
          <p:cNvSpPr/>
          <p:nvPr>
            <p:custDataLst>
              <p:tags r:id="rId11"/>
            </p:custDataLst>
          </p:nvPr>
        </p:nvSpPr>
        <p:spPr bwMode="auto">
          <a:xfrm>
            <a:off x="9936045" y="3752582"/>
            <a:ext cx="1028072" cy="103262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14" name="文本框 1413"/>
          <p:cNvSpPr txBox="1"/>
          <p:nvPr>
            <p:custDataLst>
              <p:tags r:id="rId12"/>
            </p:custDataLst>
          </p:nvPr>
        </p:nvSpPr>
        <p:spPr>
          <a:xfrm>
            <a:off x="9643579" y="3300430"/>
            <a:ext cx="1613004" cy="391536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u="sng" dirty="0">
                <a:solidFill>
                  <a:schemeClr val="dk1"/>
                </a:solidFill>
                <a:cs typeface="+mn-ea"/>
                <a:sym typeface="+mn-lt"/>
              </a:rPr>
              <a:t>Supporting text here. </a:t>
            </a:r>
          </a:p>
        </p:txBody>
      </p:sp>
      <p:sp>
        <p:nvSpPr>
          <p:cNvPr id="1415" name="矩形 1414"/>
          <p:cNvSpPr/>
          <p:nvPr>
            <p:custDataLst>
              <p:tags r:id="rId13"/>
            </p:custDataLst>
          </p:nvPr>
        </p:nvSpPr>
        <p:spPr>
          <a:xfrm>
            <a:off x="10101268" y="5073595"/>
            <a:ext cx="697627" cy="40011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>
                <a:solidFill>
                  <a:schemeClr val="dk1"/>
                </a:solidFill>
                <a:cs typeface="+mn-ea"/>
                <a:sym typeface="+mn-lt"/>
              </a:rPr>
              <a:t>66%</a:t>
            </a:r>
          </a:p>
        </p:txBody>
      </p:sp>
      <p:sp>
        <p:nvSpPr>
          <p:cNvPr id="1416" name="任意多边形: 形状 1415"/>
          <p:cNvSpPr/>
          <p:nvPr>
            <p:custDataLst>
              <p:tags r:id="rId14"/>
            </p:custDataLst>
          </p:nvPr>
        </p:nvSpPr>
        <p:spPr bwMode="auto">
          <a:xfrm>
            <a:off x="10249508" y="4086226"/>
            <a:ext cx="401146" cy="365328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cxnSp>
        <p:nvCxnSpPr>
          <p:cNvPr id="1411" name="直接连接符 1410"/>
          <p:cNvCxnSpPr/>
          <p:nvPr>
            <p:custDataLst>
              <p:tags r:id="rId15"/>
            </p:custDataLst>
          </p:nvPr>
        </p:nvCxnSpPr>
        <p:spPr>
          <a:xfrm flipV="1">
            <a:off x="5396752" y="5542035"/>
            <a:ext cx="6122146" cy="0"/>
          </a:xfrm>
          <a:prstGeom prst="line">
            <a:avLst/>
          </a:prstGeom>
          <a:ln w="12700">
            <a:solidFill>
              <a:schemeClr val="lt1">
                <a:lumMod val="75000"/>
              </a:schemeClr>
            </a:solidFill>
            <a:prstDash val="solid"/>
            <a:headEnd type="oval" w="med" len="me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2" name="直接连接符 1411"/>
          <p:cNvCxnSpPr/>
          <p:nvPr>
            <p:custDataLst>
              <p:tags r:id="rId16"/>
            </p:custDataLst>
          </p:nvPr>
        </p:nvCxnSpPr>
        <p:spPr>
          <a:xfrm flipV="1">
            <a:off x="5396752" y="3232099"/>
            <a:ext cx="6122146" cy="0"/>
          </a:xfrm>
          <a:prstGeom prst="line">
            <a:avLst/>
          </a:prstGeom>
          <a:ln w="12700">
            <a:solidFill>
              <a:schemeClr val="lt1">
                <a:lumMod val="75000"/>
              </a:schemeClr>
            </a:solidFill>
            <a:prstDash val="solid"/>
            <a:headEnd type="oval" w="med" len="me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40" name="文本框 39"/>
          <p:cNvSpPr txBox="1"/>
          <p:nvPr>
            <p:custDataLst>
              <p:tags r:id="rId2"/>
            </p:custDataLst>
          </p:nvPr>
        </p:nvSpPr>
        <p:spPr>
          <a:xfrm>
            <a:off x="669924" y="1449843"/>
            <a:ext cx="10850563" cy="6770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cs typeface="+mn-ea"/>
                <a:sym typeface="+mn-lt"/>
              </a:rPr>
              <a:t>Unified Fo</a:t>
            </a:r>
            <a:r>
              <a: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cs typeface="+mn-ea"/>
                <a:sym typeface="+mn-lt"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cs typeface="+mn-ea"/>
                <a:sym typeface="+mn-lt"/>
              </a:rPr>
              <a:t>nts Make Reading More Fluent.</a:t>
            </a:r>
          </a:p>
        </p:txBody>
      </p:sp>
      <p:sp>
        <p:nvSpPr>
          <p:cNvPr id="108" name="椭圆 107"/>
          <p:cNvSpPr/>
          <p:nvPr>
            <p:custDataLst>
              <p:tags r:id="rId3"/>
            </p:custDataLst>
          </p:nvPr>
        </p:nvSpPr>
        <p:spPr>
          <a:xfrm rot="10800000" flipV="1">
            <a:off x="1469300" y="2819073"/>
            <a:ext cx="1654556" cy="1654556"/>
          </a:xfrm>
          <a:prstGeom prst="ellipse">
            <a:avLst/>
          </a:prstGeom>
          <a:solidFill>
            <a:schemeClr val="accent2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2" name="矩形 111"/>
          <p:cNvSpPr/>
          <p:nvPr>
            <p:custDataLst>
              <p:tags r:id="rId4"/>
            </p:custDataLst>
          </p:nvPr>
        </p:nvSpPr>
        <p:spPr bwMode="auto">
          <a:xfrm>
            <a:off x="1060743" y="4986434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Su</a:t>
            </a:r>
            <a:r>
              <a:rPr lang="en-US" altLang="zh-CN" sz="100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pporting </a:t>
            </a: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113" name="文本框 112"/>
          <p:cNvSpPr txBox="1"/>
          <p:nvPr>
            <p:custDataLst>
              <p:tags r:id="rId5"/>
            </p:custDataLst>
          </p:nvPr>
        </p:nvSpPr>
        <p:spPr bwMode="auto">
          <a:xfrm>
            <a:off x="1060743" y="4544649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Text he</a:t>
            </a:r>
            <a:r>
              <a:rPr lang="en-US" altLang="zh-CN" sz="100" b="1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re</a:t>
            </a:r>
            <a:endParaRPr lang="en-US" altLang="zh-CN" sz="16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8" name="任意多边形: 形状 147"/>
          <p:cNvSpPr/>
          <p:nvPr>
            <p:custDataLst>
              <p:tags r:id="rId6"/>
            </p:custDataLst>
          </p:nvPr>
        </p:nvSpPr>
        <p:spPr bwMode="auto">
          <a:xfrm>
            <a:off x="2059492" y="3430417"/>
            <a:ext cx="474173" cy="431868"/>
          </a:xfrm>
          <a:custGeom>
            <a:avLst/>
            <a:gdLst>
              <a:gd name="T0" fmla="*/ 52 w 224"/>
              <a:gd name="T1" fmla="*/ 96 h 204"/>
              <a:gd name="T2" fmla="*/ 52 w 224"/>
              <a:gd name="T3" fmla="*/ 116 h 204"/>
              <a:gd name="T4" fmla="*/ 60 w 224"/>
              <a:gd name="T5" fmla="*/ 116 h 204"/>
              <a:gd name="T6" fmla="*/ 60 w 224"/>
              <a:gd name="T7" fmla="*/ 96 h 204"/>
              <a:gd name="T8" fmla="*/ 164 w 224"/>
              <a:gd name="T9" fmla="*/ 96 h 204"/>
              <a:gd name="T10" fmla="*/ 164 w 224"/>
              <a:gd name="T11" fmla="*/ 116 h 204"/>
              <a:gd name="T12" fmla="*/ 172 w 224"/>
              <a:gd name="T13" fmla="*/ 116 h 204"/>
              <a:gd name="T14" fmla="*/ 172 w 224"/>
              <a:gd name="T15" fmla="*/ 96 h 204"/>
              <a:gd name="T16" fmla="*/ 224 w 224"/>
              <a:gd name="T17" fmla="*/ 96 h 204"/>
              <a:gd name="T18" fmla="*/ 224 w 224"/>
              <a:gd name="T19" fmla="*/ 192 h 204"/>
              <a:gd name="T20" fmla="*/ 212 w 224"/>
              <a:gd name="T21" fmla="*/ 204 h 204"/>
              <a:gd name="T22" fmla="*/ 12 w 224"/>
              <a:gd name="T23" fmla="*/ 204 h 204"/>
              <a:gd name="T24" fmla="*/ 0 w 224"/>
              <a:gd name="T25" fmla="*/ 192 h 204"/>
              <a:gd name="T26" fmla="*/ 0 w 224"/>
              <a:gd name="T27" fmla="*/ 96 h 204"/>
              <a:gd name="T28" fmla="*/ 52 w 224"/>
              <a:gd name="T29" fmla="*/ 96 h 204"/>
              <a:gd name="T30" fmla="*/ 156 w 224"/>
              <a:gd name="T31" fmla="*/ 0 h 204"/>
              <a:gd name="T32" fmla="*/ 172 w 224"/>
              <a:gd name="T33" fmla="*/ 15 h 204"/>
              <a:gd name="T34" fmla="*/ 172 w 224"/>
              <a:gd name="T35" fmla="*/ 16 h 204"/>
              <a:gd name="T36" fmla="*/ 172 w 224"/>
              <a:gd name="T37" fmla="*/ 48 h 204"/>
              <a:gd name="T38" fmla="*/ 212 w 224"/>
              <a:gd name="T39" fmla="*/ 48 h 204"/>
              <a:gd name="T40" fmla="*/ 224 w 224"/>
              <a:gd name="T41" fmla="*/ 60 h 204"/>
              <a:gd name="T42" fmla="*/ 224 w 224"/>
              <a:gd name="T43" fmla="*/ 88 h 204"/>
              <a:gd name="T44" fmla="*/ 0 w 224"/>
              <a:gd name="T45" fmla="*/ 88 h 204"/>
              <a:gd name="T46" fmla="*/ 0 w 224"/>
              <a:gd name="T47" fmla="*/ 60 h 204"/>
              <a:gd name="T48" fmla="*/ 12 w 224"/>
              <a:gd name="T49" fmla="*/ 48 h 204"/>
              <a:gd name="T50" fmla="*/ 52 w 224"/>
              <a:gd name="T51" fmla="*/ 48 h 204"/>
              <a:gd name="T52" fmla="*/ 52 w 224"/>
              <a:gd name="T53" fmla="*/ 16 h 204"/>
              <a:gd name="T54" fmla="*/ 67 w 224"/>
              <a:gd name="T55" fmla="*/ 0 h 204"/>
              <a:gd name="T56" fmla="*/ 68 w 224"/>
              <a:gd name="T57" fmla="*/ 0 h 204"/>
              <a:gd name="T58" fmla="*/ 156 w 224"/>
              <a:gd name="T59" fmla="*/ 0 h 204"/>
              <a:gd name="T60" fmla="*/ 156 w 224"/>
              <a:gd name="T61" fmla="*/ 8 h 204"/>
              <a:gd name="T62" fmla="*/ 68 w 224"/>
              <a:gd name="T63" fmla="*/ 8 h 204"/>
              <a:gd name="T64" fmla="*/ 60 w 224"/>
              <a:gd name="T65" fmla="*/ 15 h 204"/>
              <a:gd name="T66" fmla="*/ 60 w 224"/>
              <a:gd name="T67" fmla="*/ 16 h 204"/>
              <a:gd name="T68" fmla="*/ 60 w 224"/>
              <a:gd name="T69" fmla="*/ 48 h 204"/>
              <a:gd name="T70" fmla="*/ 164 w 224"/>
              <a:gd name="T71" fmla="*/ 48 h 204"/>
              <a:gd name="T72" fmla="*/ 164 w 224"/>
              <a:gd name="T73" fmla="*/ 16 h 204"/>
              <a:gd name="T74" fmla="*/ 157 w 224"/>
              <a:gd name="T75" fmla="*/ 8 h 204"/>
              <a:gd name="T76" fmla="*/ 157 w 224"/>
              <a:gd name="T77" fmla="*/ 8 h 204"/>
              <a:gd name="T78" fmla="*/ 156 w 224"/>
              <a:gd name="T79" fmla="*/ 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24" h="204">
                <a:moveTo>
                  <a:pt x="52" y="96"/>
                </a:moveTo>
                <a:cubicBezTo>
                  <a:pt x="52" y="116"/>
                  <a:pt x="52" y="116"/>
                  <a:pt x="52" y="116"/>
                </a:cubicBezTo>
                <a:cubicBezTo>
                  <a:pt x="60" y="116"/>
                  <a:pt x="60" y="116"/>
                  <a:pt x="60" y="116"/>
                </a:cubicBezTo>
                <a:cubicBezTo>
                  <a:pt x="60" y="96"/>
                  <a:pt x="60" y="96"/>
                  <a:pt x="60" y="96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4" y="116"/>
                  <a:pt x="164" y="116"/>
                  <a:pt x="164" y="116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72" y="96"/>
                  <a:pt x="172" y="96"/>
                  <a:pt x="172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24" y="199"/>
                  <a:pt x="219" y="204"/>
                  <a:pt x="212" y="204"/>
                </a:cubicBezTo>
                <a:cubicBezTo>
                  <a:pt x="12" y="204"/>
                  <a:pt x="12" y="204"/>
                  <a:pt x="12" y="204"/>
                </a:cubicBezTo>
                <a:cubicBezTo>
                  <a:pt x="5" y="204"/>
                  <a:pt x="0" y="199"/>
                  <a:pt x="0" y="192"/>
                </a:cubicBezTo>
                <a:cubicBezTo>
                  <a:pt x="0" y="96"/>
                  <a:pt x="0" y="96"/>
                  <a:pt x="0" y="96"/>
                </a:cubicBezTo>
                <a:lnTo>
                  <a:pt x="52" y="96"/>
                </a:lnTo>
                <a:close/>
                <a:moveTo>
                  <a:pt x="156" y="0"/>
                </a:moveTo>
                <a:cubicBezTo>
                  <a:pt x="165" y="0"/>
                  <a:pt x="172" y="7"/>
                  <a:pt x="172" y="15"/>
                </a:cubicBezTo>
                <a:cubicBezTo>
                  <a:pt x="172" y="16"/>
                  <a:pt x="172" y="16"/>
                  <a:pt x="172" y="16"/>
                </a:cubicBezTo>
                <a:cubicBezTo>
                  <a:pt x="172" y="48"/>
                  <a:pt x="172" y="48"/>
                  <a:pt x="172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88"/>
                  <a:pt x="224" y="88"/>
                  <a:pt x="224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3"/>
                  <a:pt x="5" y="48"/>
                  <a:pt x="1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2" y="16"/>
                  <a:pt x="52" y="16"/>
                  <a:pt x="52" y="16"/>
                </a:cubicBezTo>
                <a:cubicBezTo>
                  <a:pt x="52" y="7"/>
                  <a:pt x="59" y="0"/>
                  <a:pt x="67" y="0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  <a:moveTo>
                  <a:pt x="156" y="8"/>
                </a:moveTo>
                <a:cubicBezTo>
                  <a:pt x="68" y="8"/>
                  <a:pt x="68" y="8"/>
                  <a:pt x="68" y="8"/>
                </a:cubicBezTo>
                <a:cubicBezTo>
                  <a:pt x="64" y="8"/>
                  <a:pt x="60" y="11"/>
                  <a:pt x="60" y="15"/>
                </a:cubicBezTo>
                <a:cubicBezTo>
                  <a:pt x="60" y="16"/>
                  <a:pt x="60" y="16"/>
                  <a:pt x="60" y="16"/>
                </a:cubicBezTo>
                <a:cubicBezTo>
                  <a:pt x="60" y="48"/>
                  <a:pt x="60" y="48"/>
                  <a:pt x="60" y="48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164" y="16"/>
                  <a:pt x="164" y="16"/>
                  <a:pt x="164" y="16"/>
                </a:cubicBezTo>
                <a:cubicBezTo>
                  <a:pt x="164" y="12"/>
                  <a:pt x="161" y="9"/>
                  <a:pt x="157" y="8"/>
                </a:cubicBezTo>
                <a:cubicBezTo>
                  <a:pt x="157" y="8"/>
                  <a:pt x="157" y="8"/>
                  <a:pt x="157" y="8"/>
                </a:cubicBezTo>
                <a:lnTo>
                  <a:pt x="156" y="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09" name="椭圆 108"/>
          <p:cNvSpPr/>
          <p:nvPr>
            <p:custDataLst>
              <p:tags r:id="rId7"/>
            </p:custDataLst>
          </p:nvPr>
        </p:nvSpPr>
        <p:spPr>
          <a:xfrm rot="10800000" flipV="1">
            <a:off x="4177318" y="3002117"/>
            <a:ext cx="1306228" cy="130606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4" name="矩形 113"/>
          <p:cNvSpPr/>
          <p:nvPr>
            <p:custDataLst>
              <p:tags r:id="rId8"/>
            </p:custDataLst>
          </p:nvPr>
        </p:nvSpPr>
        <p:spPr bwMode="auto">
          <a:xfrm>
            <a:off x="3603097" y="4803390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. </a:t>
            </a:r>
            <a:r>
              <a:rPr lang="en-US" altLang="zh-CN" sz="100">
                <a:solidFill>
                  <a:schemeClr val="dk1"/>
                </a:solidFill>
                <a:cs typeface="+mn-ea"/>
                <a:sym typeface="+mn-lt"/>
              </a:rPr>
              <a:t> </a:t>
            </a:r>
            <a:endParaRPr lang="en-US" altLang="zh-CN" sz="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115" name="文本框 114"/>
          <p:cNvSpPr txBox="1"/>
          <p:nvPr>
            <p:custDataLst>
              <p:tags r:id="rId9"/>
            </p:custDataLst>
          </p:nvPr>
        </p:nvSpPr>
        <p:spPr bwMode="auto">
          <a:xfrm>
            <a:off x="3603097" y="4361604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Text he</a:t>
            </a:r>
            <a:r>
              <a:rPr lang="en-US" altLang="zh-CN" sz="100" b="1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re</a:t>
            </a:r>
            <a:endParaRPr lang="en-US" altLang="zh-CN" sz="16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9" name="任意多边形: 形状 148"/>
          <p:cNvSpPr/>
          <p:nvPr>
            <p:custDataLst>
              <p:tags r:id="rId10"/>
            </p:custDataLst>
          </p:nvPr>
        </p:nvSpPr>
        <p:spPr bwMode="auto">
          <a:xfrm>
            <a:off x="4616205" y="3418063"/>
            <a:ext cx="428454" cy="474173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37" name="椭圆 136"/>
          <p:cNvSpPr/>
          <p:nvPr>
            <p:custDataLst>
              <p:tags r:id="rId11"/>
            </p:custDataLst>
          </p:nvPr>
        </p:nvSpPr>
        <p:spPr>
          <a:xfrm rot="10800000" flipV="1">
            <a:off x="6554008" y="2819073"/>
            <a:ext cx="1654556" cy="1654556"/>
          </a:xfrm>
          <a:prstGeom prst="ellipse">
            <a:avLst/>
          </a:prstGeom>
          <a:solidFill>
            <a:schemeClr val="accent6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38" name="矩形 137"/>
          <p:cNvSpPr/>
          <p:nvPr>
            <p:custDataLst>
              <p:tags r:id="rId12"/>
            </p:custDataLst>
          </p:nvPr>
        </p:nvSpPr>
        <p:spPr bwMode="auto">
          <a:xfrm>
            <a:off x="6145451" y="4986434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Su</a:t>
            </a:r>
            <a:r>
              <a:rPr lang="en-US" altLang="zh-CN" sz="100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pporting </a:t>
            </a: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139" name="文本框 138"/>
          <p:cNvSpPr txBox="1"/>
          <p:nvPr>
            <p:custDataLst>
              <p:tags r:id="rId13"/>
            </p:custDataLst>
          </p:nvPr>
        </p:nvSpPr>
        <p:spPr bwMode="auto">
          <a:xfrm>
            <a:off x="6145451" y="4544649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Text he</a:t>
            </a:r>
            <a:r>
              <a:rPr lang="en-US" altLang="zh-CN" sz="100" b="1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dk1"/>
                </a:solidFill>
                <a:cs typeface="+mn-ea"/>
                <a:sym typeface="+mn-lt"/>
              </a:rPr>
              <a:t>re</a:t>
            </a:r>
            <a:endParaRPr lang="en-US" altLang="zh-CN" sz="16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50" name="任意多边形: 形状 149"/>
          <p:cNvSpPr/>
          <p:nvPr>
            <p:custDataLst>
              <p:tags r:id="rId14"/>
            </p:custDataLst>
          </p:nvPr>
        </p:nvSpPr>
        <p:spPr bwMode="auto">
          <a:xfrm>
            <a:off x="7144200" y="3455287"/>
            <a:ext cx="474173" cy="382128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3" name="椭圆 142"/>
          <p:cNvSpPr/>
          <p:nvPr>
            <p:custDataLst>
              <p:tags r:id="rId15"/>
            </p:custDataLst>
          </p:nvPr>
        </p:nvSpPr>
        <p:spPr>
          <a:xfrm rot="10800000" flipV="1">
            <a:off x="9262026" y="3002117"/>
            <a:ext cx="1306228" cy="130606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44" name="矩形 143"/>
          <p:cNvSpPr/>
          <p:nvPr>
            <p:custDataLst>
              <p:tags r:id="rId16"/>
            </p:custDataLst>
          </p:nvPr>
        </p:nvSpPr>
        <p:spPr bwMode="auto">
          <a:xfrm>
            <a:off x="8687805" y="4803390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Supporting text here</a:t>
            </a:r>
            <a:r>
              <a:rPr lang="en-US" altLang="zh-CN" sz="1100">
                <a:solidFill>
                  <a:schemeClr val="dk1"/>
                </a:solidFill>
                <a:cs typeface="+mn-ea"/>
                <a:sym typeface="+mn-lt"/>
              </a:rPr>
              <a:t>. </a:t>
            </a:r>
            <a:r>
              <a:rPr lang="en-US" altLang="zh-CN" sz="100">
                <a:solidFill>
                  <a:schemeClr val="dk1"/>
                </a:solidFill>
                <a:cs typeface="+mn-ea"/>
                <a:sym typeface="+mn-lt"/>
              </a:rPr>
              <a:t> </a:t>
            </a:r>
            <a:endParaRPr lang="en-US" altLang="zh-CN" sz="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 …</a:t>
            </a:r>
          </a:p>
        </p:txBody>
      </p:sp>
      <p:sp>
        <p:nvSpPr>
          <p:cNvPr id="145" name="文本框 144"/>
          <p:cNvSpPr txBox="1"/>
          <p:nvPr>
            <p:custDataLst>
              <p:tags r:id="rId17"/>
            </p:custDataLst>
          </p:nvPr>
        </p:nvSpPr>
        <p:spPr bwMode="auto">
          <a:xfrm>
            <a:off x="8687805" y="4361604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</a:t>
            </a:r>
            <a:r>
              <a:rPr lang="en-US" altLang="zh-CN" sz="100" b="1" dirty="0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re</a:t>
            </a:r>
          </a:p>
        </p:txBody>
      </p:sp>
      <p:sp>
        <p:nvSpPr>
          <p:cNvPr id="151" name="任意多边形: 形状 150"/>
          <p:cNvSpPr/>
          <p:nvPr>
            <p:custDataLst>
              <p:tags r:id="rId18"/>
            </p:custDataLst>
          </p:nvPr>
        </p:nvSpPr>
        <p:spPr bwMode="auto">
          <a:xfrm>
            <a:off x="9678053" y="3420742"/>
            <a:ext cx="474173" cy="468816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35" name="矩形: 圆角 34"/>
          <p:cNvSpPr/>
          <p:nvPr>
            <p:custDataLst>
              <p:tags r:id="rId1"/>
            </p:custDataLst>
          </p:nvPr>
        </p:nvSpPr>
        <p:spPr bwMode="auto">
          <a:xfrm>
            <a:off x="1002504" y="3059905"/>
            <a:ext cx="2909888" cy="5715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rgbClr val="FFFFFF"/>
                </a:solidFill>
                <a:cs typeface="+mn-ea"/>
                <a:sym typeface="+mn-lt"/>
              </a:rPr>
              <a:t>Text</a:t>
            </a:r>
          </a:p>
        </p:txBody>
      </p:sp>
      <p:cxnSp>
        <p:nvCxnSpPr>
          <p:cNvPr id="36" name="直接连接符 35"/>
          <p:cNvCxnSpPr/>
          <p:nvPr>
            <p:custDataLst>
              <p:tags r:id="rId2"/>
            </p:custDataLst>
          </p:nvPr>
        </p:nvCxnSpPr>
        <p:spPr>
          <a:xfrm>
            <a:off x="2455067" y="2580480"/>
            <a:ext cx="0" cy="441325"/>
          </a:xfrm>
          <a:prstGeom prst="line">
            <a:avLst/>
          </a:prstGeom>
          <a:ln w="12700" cap="rnd">
            <a:solidFill>
              <a:schemeClr val="lt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: 圆角 32"/>
          <p:cNvSpPr/>
          <p:nvPr>
            <p:custDataLst>
              <p:tags r:id="rId3"/>
            </p:custDataLst>
          </p:nvPr>
        </p:nvSpPr>
        <p:spPr bwMode="auto">
          <a:xfrm>
            <a:off x="2455068" y="3694905"/>
            <a:ext cx="2908300" cy="57308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rgbClr val="FFFFFF"/>
                </a:solidFill>
                <a:cs typeface="+mn-ea"/>
                <a:sym typeface="+mn-lt"/>
              </a:rPr>
              <a:t>Text</a:t>
            </a:r>
          </a:p>
        </p:txBody>
      </p:sp>
      <p:cxnSp>
        <p:nvCxnSpPr>
          <p:cNvPr id="34" name="直接连接符 33"/>
          <p:cNvCxnSpPr/>
          <p:nvPr>
            <p:custDataLst>
              <p:tags r:id="rId4"/>
            </p:custDataLst>
          </p:nvPr>
        </p:nvCxnSpPr>
        <p:spPr>
          <a:xfrm>
            <a:off x="3909217" y="4306093"/>
            <a:ext cx="0" cy="441325"/>
          </a:xfrm>
          <a:prstGeom prst="line">
            <a:avLst/>
          </a:prstGeom>
          <a:ln w="12700" cap="rnd">
            <a:solidFill>
              <a:schemeClr val="lt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矩形: 圆角 30"/>
          <p:cNvSpPr/>
          <p:nvPr>
            <p:custDataLst>
              <p:tags r:id="rId5"/>
            </p:custDataLst>
          </p:nvPr>
        </p:nvSpPr>
        <p:spPr bwMode="auto">
          <a:xfrm>
            <a:off x="3909218" y="3059905"/>
            <a:ext cx="2909888" cy="5715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>
                <a:solidFill>
                  <a:srgbClr val="FFFFFF"/>
                </a:solidFill>
                <a:cs typeface="+mn-ea"/>
                <a:sym typeface="+mn-lt"/>
              </a:rPr>
              <a:t>Text</a:t>
            </a:r>
          </a:p>
        </p:txBody>
      </p:sp>
      <p:cxnSp>
        <p:nvCxnSpPr>
          <p:cNvPr id="32" name="直接连接符 31"/>
          <p:cNvCxnSpPr/>
          <p:nvPr>
            <p:custDataLst>
              <p:tags r:id="rId6"/>
            </p:custDataLst>
          </p:nvPr>
        </p:nvCxnSpPr>
        <p:spPr>
          <a:xfrm>
            <a:off x="5361781" y="2580480"/>
            <a:ext cx="0" cy="441325"/>
          </a:xfrm>
          <a:prstGeom prst="line">
            <a:avLst/>
          </a:prstGeom>
          <a:ln w="12700" cap="rnd">
            <a:solidFill>
              <a:schemeClr val="lt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: 圆角 28"/>
          <p:cNvSpPr/>
          <p:nvPr>
            <p:custDataLst>
              <p:tags r:id="rId7"/>
            </p:custDataLst>
          </p:nvPr>
        </p:nvSpPr>
        <p:spPr bwMode="auto">
          <a:xfrm>
            <a:off x="5361782" y="3694905"/>
            <a:ext cx="2908300" cy="573088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rgbClr val="FFFFFF"/>
                </a:solidFill>
                <a:cs typeface="+mn-ea"/>
                <a:sym typeface="+mn-lt"/>
              </a:rPr>
              <a:t>Text</a:t>
            </a:r>
          </a:p>
        </p:txBody>
      </p:sp>
      <p:cxnSp>
        <p:nvCxnSpPr>
          <p:cNvPr id="30" name="直接连接符 29"/>
          <p:cNvCxnSpPr/>
          <p:nvPr>
            <p:custDataLst>
              <p:tags r:id="rId8"/>
            </p:custDataLst>
          </p:nvPr>
        </p:nvCxnSpPr>
        <p:spPr>
          <a:xfrm>
            <a:off x="6815931" y="4306093"/>
            <a:ext cx="0" cy="441325"/>
          </a:xfrm>
          <a:prstGeom prst="line">
            <a:avLst/>
          </a:prstGeom>
          <a:ln w="12700" cap="rnd">
            <a:solidFill>
              <a:schemeClr val="lt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: 圆角 26"/>
          <p:cNvSpPr/>
          <p:nvPr>
            <p:custDataLst>
              <p:tags r:id="rId9"/>
            </p:custDataLst>
          </p:nvPr>
        </p:nvSpPr>
        <p:spPr bwMode="auto">
          <a:xfrm>
            <a:off x="6815932" y="3059905"/>
            <a:ext cx="2909888" cy="571500"/>
          </a:xfrm>
          <a:prstGeom prst="roundRect">
            <a:avLst/>
          </a:prstGeom>
          <a:solidFill>
            <a:srgbClr val="215B93"/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rgbClr val="FFFFFF"/>
                </a:solidFill>
                <a:cs typeface="+mn-ea"/>
                <a:sym typeface="+mn-lt"/>
              </a:rPr>
              <a:t>Text</a:t>
            </a:r>
          </a:p>
        </p:txBody>
      </p:sp>
      <p:cxnSp>
        <p:nvCxnSpPr>
          <p:cNvPr id="28" name="直接连接符 27"/>
          <p:cNvCxnSpPr/>
          <p:nvPr>
            <p:custDataLst>
              <p:tags r:id="rId10"/>
            </p:custDataLst>
          </p:nvPr>
        </p:nvCxnSpPr>
        <p:spPr>
          <a:xfrm>
            <a:off x="8268495" y="2580480"/>
            <a:ext cx="0" cy="441325"/>
          </a:xfrm>
          <a:prstGeom prst="line">
            <a:avLst/>
          </a:prstGeom>
          <a:ln w="12700" cap="rnd">
            <a:solidFill>
              <a:schemeClr val="lt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: 圆角 24"/>
          <p:cNvSpPr/>
          <p:nvPr>
            <p:custDataLst>
              <p:tags r:id="rId11"/>
            </p:custDataLst>
          </p:nvPr>
        </p:nvSpPr>
        <p:spPr bwMode="auto">
          <a:xfrm>
            <a:off x="8268496" y="3694905"/>
            <a:ext cx="2908300" cy="57308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rgbClr val="FFFFFF"/>
                </a:solidFill>
                <a:cs typeface="+mn-ea"/>
                <a:sym typeface="+mn-lt"/>
              </a:rPr>
              <a:t>Text</a:t>
            </a:r>
          </a:p>
        </p:txBody>
      </p:sp>
      <p:cxnSp>
        <p:nvCxnSpPr>
          <p:cNvPr id="26" name="直接连接符 25"/>
          <p:cNvCxnSpPr/>
          <p:nvPr>
            <p:custDataLst>
              <p:tags r:id="rId12"/>
            </p:custDataLst>
          </p:nvPr>
        </p:nvCxnSpPr>
        <p:spPr>
          <a:xfrm>
            <a:off x="9722645" y="4306093"/>
            <a:ext cx="0" cy="441325"/>
          </a:xfrm>
          <a:prstGeom prst="line">
            <a:avLst/>
          </a:prstGeom>
          <a:ln w="12700" cap="rnd">
            <a:solidFill>
              <a:schemeClr val="lt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/>
          <p:cNvSpPr/>
          <p:nvPr>
            <p:custDataLst>
              <p:tags r:id="rId13"/>
            </p:custDataLst>
          </p:nvPr>
        </p:nvSpPr>
        <p:spPr bwMode="auto">
          <a:xfrm>
            <a:off x="1514424" y="120229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0" name="矩形 19"/>
          <p:cNvSpPr/>
          <p:nvPr>
            <p:custDataLst>
              <p:tags r:id="rId14"/>
            </p:custDataLst>
          </p:nvPr>
        </p:nvSpPr>
        <p:spPr bwMode="auto">
          <a:xfrm>
            <a:off x="4421138" y="120229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1" name="矩形 20"/>
          <p:cNvSpPr/>
          <p:nvPr>
            <p:custDataLst>
              <p:tags r:id="rId15"/>
            </p:custDataLst>
          </p:nvPr>
        </p:nvSpPr>
        <p:spPr bwMode="auto">
          <a:xfrm>
            <a:off x="7327852" y="120229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2" name="矩形 21"/>
          <p:cNvSpPr/>
          <p:nvPr>
            <p:custDataLst>
              <p:tags r:id="rId16"/>
            </p:custDataLst>
          </p:nvPr>
        </p:nvSpPr>
        <p:spPr bwMode="auto">
          <a:xfrm>
            <a:off x="2966194" y="475834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3" name="矩形 22"/>
          <p:cNvSpPr/>
          <p:nvPr>
            <p:custDataLst>
              <p:tags r:id="rId17"/>
            </p:custDataLst>
          </p:nvPr>
        </p:nvSpPr>
        <p:spPr bwMode="auto">
          <a:xfrm>
            <a:off x="5872908" y="475834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4" name="矩形 23"/>
          <p:cNvSpPr/>
          <p:nvPr>
            <p:custDataLst>
              <p:tags r:id="rId18"/>
            </p:custDataLst>
          </p:nvPr>
        </p:nvSpPr>
        <p:spPr bwMode="auto">
          <a:xfrm>
            <a:off x="8779622" y="475834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90" name="椭圆 89"/>
          <p:cNvSpPr/>
          <p:nvPr>
            <p:custDataLst>
              <p:tags r:id="rId2"/>
            </p:custDataLst>
          </p:nvPr>
        </p:nvSpPr>
        <p:spPr>
          <a:xfrm>
            <a:off x="666751" y="1778705"/>
            <a:ext cx="3114674" cy="3114674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rgbClr val="FFFFFF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15" name="文本框 114"/>
          <p:cNvSpPr txBox="1"/>
          <p:nvPr/>
        </p:nvSpPr>
        <p:spPr>
          <a:xfrm>
            <a:off x="5746916" y="1130300"/>
            <a:ext cx="5771983" cy="58192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en-US" sz="2400" dirty="0">
                <a:solidFill>
                  <a:srgbClr val="000000"/>
                </a:solidFill>
                <a:cs typeface="+mn-ea"/>
                <a:sym typeface="+mn-lt"/>
              </a:rPr>
              <a:t>Unified fonts make reading more fluent.</a:t>
            </a:r>
          </a:p>
        </p:txBody>
      </p:sp>
      <p:sp>
        <p:nvSpPr>
          <p:cNvPr id="116" name="文本框 115"/>
          <p:cNvSpPr txBox="1"/>
          <p:nvPr>
            <p:custDataLst>
              <p:tags r:id="rId3"/>
            </p:custDataLst>
          </p:nvPr>
        </p:nvSpPr>
        <p:spPr>
          <a:xfrm>
            <a:off x="5746917" y="1712227"/>
            <a:ext cx="5771980" cy="77696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buSzPct val="25000"/>
            </a:pPr>
            <a:r>
              <a:rPr lang="en-US" sz="1100" dirty="0">
                <a:solidFill>
                  <a:schemeClr val="dk1"/>
                </a:solidFill>
                <a:cs typeface="+mn-ea"/>
                <a:sym typeface="+mn-lt"/>
              </a:rPr>
              <a:t>Theme color makes PPT more convenient to change.</a:t>
            </a:r>
          </a:p>
          <a:p>
            <a:pPr algn="ctr">
              <a:lnSpc>
                <a:spcPct val="150000"/>
              </a:lnSpc>
              <a:buSzPct val="25000"/>
            </a:pPr>
            <a:r>
              <a:rPr lang="en-US" sz="1100" dirty="0">
                <a:solidFill>
                  <a:schemeClr val="dk1"/>
                </a:solidFill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113" name="椭圆 112"/>
          <p:cNvSpPr/>
          <p:nvPr>
            <p:custDataLst>
              <p:tags r:id="rId4"/>
            </p:custDataLst>
          </p:nvPr>
        </p:nvSpPr>
        <p:spPr>
          <a:xfrm>
            <a:off x="5746917" y="2977351"/>
            <a:ext cx="717384" cy="71738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4" name="任意多边形: 形状 113"/>
          <p:cNvSpPr/>
          <p:nvPr>
            <p:custDataLst>
              <p:tags r:id="rId5"/>
            </p:custDataLst>
          </p:nvPr>
        </p:nvSpPr>
        <p:spPr bwMode="auto">
          <a:xfrm>
            <a:off x="5968541" y="3201423"/>
            <a:ext cx="274134" cy="269238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1" name="矩形 110"/>
          <p:cNvSpPr/>
          <p:nvPr>
            <p:custDataLst>
              <p:tags r:id="rId6"/>
            </p:custDataLst>
          </p:nvPr>
        </p:nvSpPr>
        <p:spPr bwMode="auto">
          <a:xfrm>
            <a:off x="6662299" y="3336044"/>
            <a:ext cx="4858189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12" name="文本框 111"/>
          <p:cNvSpPr txBox="1"/>
          <p:nvPr>
            <p:custDataLst>
              <p:tags r:id="rId7"/>
            </p:custDataLst>
          </p:nvPr>
        </p:nvSpPr>
        <p:spPr bwMode="auto">
          <a:xfrm>
            <a:off x="6662299" y="2948445"/>
            <a:ext cx="4858189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09" name="椭圆 108"/>
          <p:cNvSpPr/>
          <p:nvPr>
            <p:custDataLst>
              <p:tags r:id="rId8"/>
            </p:custDataLst>
          </p:nvPr>
        </p:nvSpPr>
        <p:spPr>
          <a:xfrm>
            <a:off x="5746917" y="4106546"/>
            <a:ext cx="717384" cy="71738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0" name="任意多边形: 形状 109"/>
          <p:cNvSpPr/>
          <p:nvPr>
            <p:custDataLst>
              <p:tags r:id="rId9"/>
            </p:custDataLst>
          </p:nvPr>
        </p:nvSpPr>
        <p:spPr bwMode="auto">
          <a:xfrm>
            <a:off x="5973889" y="4323592"/>
            <a:ext cx="263439" cy="283292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07" name="矩形 106"/>
          <p:cNvSpPr/>
          <p:nvPr>
            <p:custDataLst>
              <p:tags r:id="rId10"/>
            </p:custDataLst>
          </p:nvPr>
        </p:nvSpPr>
        <p:spPr bwMode="auto">
          <a:xfrm>
            <a:off x="6662299" y="4465239"/>
            <a:ext cx="4858189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08" name="文本框 107"/>
          <p:cNvSpPr txBox="1"/>
          <p:nvPr>
            <p:custDataLst>
              <p:tags r:id="rId11"/>
            </p:custDataLst>
          </p:nvPr>
        </p:nvSpPr>
        <p:spPr bwMode="auto">
          <a:xfrm>
            <a:off x="6662299" y="4077640"/>
            <a:ext cx="4858189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05" name="椭圆 104"/>
          <p:cNvSpPr/>
          <p:nvPr>
            <p:custDataLst>
              <p:tags r:id="rId12"/>
            </p:custDataLst>
          </p:nvPr>
        </p:nvSpPr>
        <p:spPr>
          <a:xfrm>
            <a:off x="5746917" y="5235740"/>
            <a:ext cx="717384" cy="71738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06" name="任意多边形: 形状 105"/>
          <p:cNvSpPr/>
          <p:nvPr>
            <p:custDataLst>
              <p:tags r:id="rId13"/>
            </p:custDataLst>
          </p:nvPr>
        </p:nvSpPr>
        <p:spPr bwMode="auto">
          <a:xfrm>
            <a:off x="5990707" y="5454553"/>
            <a:ext cx="229801" cy="279758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03" name="矩形 102"/>
          <p:cNvSpPr/>
          <p:nvPr>
            <p:custDataLst>
              <p:tags r:id="rId14"/>
            </p:custDataLst>
          </p:nvPr>
        </p:nvSpPr>
        <p:spPr bwMode="auto">
          <a:xfrm>
            <a:off x="6662299" y="5594433"/>
            <a:ext cx="4858189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04" name="文本框 103"/>
          <p:cNvSpPr txBox="1"/>
          <p:nvPr>
            <p:custDataLst>
              <p:tags r:id="rId15"/>
            </p:custDataLst>
          </p:nvPr>
        </p:nvSpPr>
        <p:spPr bwMode="auto">
          <a:xfrm>
            <a:off x="6662299" y="5206834"/>
            <a:ext cx="4858189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98" name="直接连接符 97"/>
          <p:cNvCxnSpPr/>
          <p:nvPr>
            <p:custDataLst>
              <p:tags r:id="rId16"/>
            </p:custDataLst>
          </p:nvPr>
        </p:nvCxnSpPr>
        <p:spPr>
          <a:xfrm>
            <a:off x="6762750" y="3900641"/>
            <a:ext cx="4548188" cy="0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接连接符 98"/>
          <p:cNvCxnSpPr/>
          <p:nvPr>
            <p:custDataLst>
              <p:tags r:id="rId17"/>
            </p:custDataLst>
          </p:nvPr>
        </p:nvCxnSpPr>
        <p:spPr>
          <a:xfrm>
            <a:off x="6762750" y="5029836"/>
            <a:ext cx="4548188" cy="0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99"/>
          <p:cNvCxnSpPr/>
          <p:nvPr>
            <p:custDataLst>
              <p:tags r:id="rId18"/>
            </p:custDataLst>
          </p:nvPr>
        </p:nvCxnSpPr>
        <p:spPr>
          <a:xfrm>
            <a:off x="3781425" y="3336042"/>
            <a:ext cx="1965492" cy="1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连接符: 肘形 100"/>
          <p:cNvCxnSpPr/>
          <p:nvPr>
            <p:custDataLst>
              <p:tags r:id="rId19"/>
            </p:custDataLst>
          </p:nvPr>
        </p:nvCxnSpPr>
        <p:spPr>
          <a:xfrm>
            <a:off x="3781425" y="3336042"/>
            <a:ext cx="1965492" cy="1129196"/>
          </a:xfrm>
          <a:prstGeom prst="bentConnector3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连接符: 肘形 101"/>
          <p:cNvCxnSpPr/>
          <p:nvPr>
            <p:custDataLst>
              <p:tags r:id="rId20"/>
            </p:custDataLst>
          </p:nvPr>
        </p:nvCxnSpPr>
        <p:spPr>
          <a:xfrm>
            <a:off x="3781425" y="3336042"/>
            <a:ext cx="1965492" cy="2258390"/>
          </a:xfrm>
          <a:prstGeom prst="bentConnector3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185" name="任意多边形: 形状 184"/>
          <p:cNvSpPr/>
          <p:nvPr>
            <p:custDataLst>
              <p:tags r:id="rId2"/>
            </p:custDataLst>
          </p:nvPr>
        </p:nvSpPr>
        <p:spPr>
          <a:xfrm>
            <a:off x="3474974" y="1316356"/>
            <a:ext cx="2247686" cy="12819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9674"/>
                  <a:pt x="5515" y="0"/>
                  <a:pt x="12314" y="0"/>
                </a:cubicBezTo>
                <a:cubicBezTo>
                  <a:pt x="16025" y="0"/>
                  <a:pt x="19354" y="2885"/>
                  <a:pt x="21600" y="7423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86" name="任意多边形: 形状 185"/>
          <p:cNvSpPr/>
          <p:nvPr>
            <p:custDataLst>
              <p:tags r:id="rId3"/>
            </p:custDataLst>
          </p:nvPr>
        </p:nvSpPr>
        <p:spPr>
          <a:xfrm>
            <a:off x="5659929" y="1698018"/>
            <a:ext cx="131646" cy="136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396" y="0"/>
                </a:moveTo>
                <a:lnTo>
                  <a:pt x="0" y="14306"/>
                </a:lnTo>
                <a:lnTo>
                  <a:pt x="21600" y="21600"/>
                </a:lnTo>
                <a:lnTo>
                  <a:pt x="17396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87" name="任意多边形: 形状 186"/>
          <p:cNvSpPr/>
          <p:nvPr>
            <p:custDataLst>
              <p:tags r:id="rId4"/>
            </p:custDataLst>
          </p:nvPr>
        </p:nvSpPr>
        <p:spPr>
          <a:xfrm>
            <a:off x="3788050" y="2523030"/>
            <a:ext cx="1641659" cy="1026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7" h="19790" extrusionOk="0">
                <a:moveTo>
                  <a:pt x="21407" y="14360"/>
                </a:moveTo>
                <a:cubicBezTo>
                  <a:pt x="16510" y="21600"/>
                  <a:pt x="8567" y="21600"/>
                  <a:pt x="3670" y="14360"/>
                </a:cubicBezTo>
                <a:cubicBezTo>
                  <a:pt x="1004" y="10418"/>
                  <a:pt x="-193" y="5149"/>
                  <a:pt x="25" y="0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88" name="任意多边形: 形状 187"/>
          <p:cNvSpPr/>
          <p:nvPr>
            <p:custDataLst>
              <p:tags r:id="rId5"/>
            </p:custDataLst>
          </p:nvPr>
        </p:nvSpPr>
        <p:spPr>
          <a:xfrm>
            <a:off x="5360801" y="3203751"/>
            <a:ext cx="136048" cy="131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494"/>
                </a:moveTo>
                <a:lnTo>
                  <a:pt x="14306" y="21600"/>
                </a:lnTo>
                <a:lnTo>
                  <a:pt x="21600" y="0"/>
                </a:lnTo>
                <a:lnTo>
                  <a:pt x="0" y="449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89" name="任意多边形: 形状 188"/>
          <p:cNvSpPr/>
          <p:nvPr>
            <p:custDataLst>
              <p:tags r:id="rId6"/>
            </p:custDataLst>
          </p:nvPr>
        </p:nvSpPr>
        <p:spPr>
          <a:xfrm>
            <a:off x="4069110" y="1627894"/>
            <a:ext cx="1643174" cy="9802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19713" extrusionOk="0">
                <a:moveTo>
                  <a:pt x="0" y="5663"/>
                </a:moveTo>
                <a:cubicBezTo>
                  <a:pt x="4928" y="-1887"/>
                  <a:pt x="12922" y="-1887"/>
                  <a:pt x="17849" y="5663"/>
                </a:cubicBezTo>
                <a:cubicBezTo>
                  <a:pt x="20368" y="9521"/>
                  <a:pt x="21600" y="14638"/>
                  <a:pt x="21545" y="19713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0" name="任意多边形: 形状 189"/>
          <p:cNvSpPr/>
          <p:nvPr>
            <p:custDataLst>
              <p:tags r:id="rId7"/>
            </p:custDataLst>
          </p:nvPr>
        </p:nvSpPr>
        <p:spPr>
          <a:xfrm>
            <a:off x="4018741" y="1835945"/>
            <a:ext cx="133440" cy="1333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5878"/>
                </a:moveTo>
                <a:lnTo>
                  <a:pt x="5722" y="0"/>
                </a:lnTo>
                <a:lnTo>
                  <a:pt x="0" y="21600"/>
                </a:lnTo>
                <a:lnTo>
                  <a:pt x="21600" y="1587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1" name="任意多边形: 形状 190"/>
          <p:cNvSpPr/>
          <p:nvPr>
            <p:custDataLst>
              <p:tags r:id="rId8"/>
            </p:custDataLst>
          </p:nvPr>
        </p:nvSpPr>
        <p:spPr>
          <a:xfrm>
            <a:off x="3831672" y="2598280"/>
            <a:ext cx="2208046" cy="12837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1941"/>
                  <a:pt x="15986" y="21600"/>
                  <a:pt x="9044" y="21600"/>
                </a:cubicBezTo>
                <a:cubicBezTo>
                  <a:pt x="5492" y="21600"/>
                  <a:pt x="2266" y="19036"/>
                  <a:pt x="0" y="14927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2" name="任意多边形: 形状 191"/>
          <p:cNvSpPr/>
          <p:nvPr>
            <p:custDataLst>
              <p:tags r:id="rId9"/>
            </p:custDataLst>
          </p:nvPr>
        </p:nvSpPr>
        <p:spPr>
          <a:xfrm>
            <a:off x="3792097" y="3449966"/>
            <a:ext cx="134304" cy="1334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26" y="21600"/>
                </a:moveTo>
                <a:lnTo>
                  <a:pt x="21600" y="5722"/>
                </a:lnTo>
                <a:lnTo>
                  <a:pt x="0" y="0"/>
                </a:lnTo>
                <a:lnTo>
                  <a:pt x="5826" y="216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3" name="任意多边形: 形状 192"/>
          <p:cNvSpPr/>
          <p:nvPr>
            <p:custDataLst>
              <p:tags r:id="rId10"/>
            </p:custDataLst>
          </p:nvPr>
        </p:nvSpPr>
        <p:spPr>
          <a:xfrm>
            <a:off x="6154069" y="1316356"/>
            <a:ext cx="2247685" cy="12819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9674"/>
                  <a:pt x="5515" y="0"/>
                  <a:pt x="12314" y="0"/>
                </a:cubicBezTo>
                <a:cubicBezTo>
                  <a:pt x="16025" y="0"/>
                  <a:pt x="19354" y="2885"/>
                  <a:pt x="21600" y="7423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4" name="任意多边形: 形状 193"/>
          <p:cNvSpPr/>
          <p:nvPr>
            <p:custDataLst>
              <p:tags r:id="rId11"/>
            </p:custDataLst>
          </p:nvPr>
        </p:nvSpPr>
        <p:spPr>
          <a:xfrm>
            <a:off x="8339025" y="1698018"/>
            <a:ext cx="131646" cy="136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396" y="0"/>
                </a:moveTo>
                <a:lnTo>
                  <a:pt x="0" y="14306"/>
                </a:lnTo>
                <a:lnTo>
                  <a:pt x="21600" y="21600"/>
                </a:lnTo>
                <a:lnTo>
                  <a:pt x="17396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5" name="任意多边形: 形状 194"/>
          <p:cNvSpPr/>
          <p:nvPr>
            <p:custDataLst>
              <p:tags r:id="rId12"/>
            </p:custDataLst>
          </p:nvPr>
        </p:nvSpPr>
        <p:spPr>
          <a:xfrm>
            <a:off x="6467144" y="2523030"/>
            <a:ext cx="1641659" cy="1026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7" h="19790" extrusionOk="0">
                <a:moveTo>
                  <a:pt x="21407" y="14360"/>
                </a:moveTo>
                <a:cubicBezTo>
                  <a:pt x="16510" y="21600"/>
                  <a:pt x="8567" y="21600"/>
                  <a:pt x="3670" y="14360"/>
                </a:cubicBezTo>
                <a:cubicBezTo>
                  <a:pt x="1004" y="10418"/>
                  <a:pt x="-193" y="5149"/>
                  <a:pt x="25" y="0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6" name="任意多边形: 形状 195"/>
          <p:cNvSpPr/>
          <p:nvPr>
            <p:custDataLst>
              <p:tags r:id="rId13"/>
            </p:custDataLst>
          </p:nvPr>
        </p:nvSpPr>
        <p:spPr>
          <a:xfrm>
            <a:off x="8039896" y="3203751"/>
            <a:ext cx="136048" cy="131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494"/>
                </a:moveTo>
                <a:lnTo>
                  <a:pt x="14306" y="21600"/>
                </a:lnTo>
                <a:lnTo>
                  <a:pt x="21600" y="0"/>
                </a:lnTo>
                <a:lnTo>
                  <a:pt x="0" y="449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7" name="任意多边形: 形状 196"/>
          <p:cNvSpPr/>
          <p:nvPr>
            <p:custDataLst>
              <p:tags r:id="rId14"/>
            </p:custDataLst>
          </p:nvPr>
        </p:nvSpPr>
        <p:spPr>
          <a:xfrm>
            <a:off x="6748205" y="1627894"/>
            <a:ext cx="1643174" cy="9802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19713" extrusionOk="0">
                <a:moveTo>
                  <a:pt x="0" y="5663"/>
                </a:moveTo>
                <a:cubicBezTo>
                  <a:pt x="4928" y="-1887"/>
                  <a:pt x="12922" y="-1887"/>
                  <a:pt x="17849" y="5663"/>
                </a:cubicBezTo>
                <a:cubicBezTo>
                  <a:pt x="20368" y="9521"/>
                  <a:pt x="21600" y="14638"/>
                  <a:pt x="21545" y="19713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8" name="任意多边形: 形状 197"/>
          <p:cNvSpPr/>
          <p:nvPr>
            <p:custDataLst>
              <p:tags r:id="rId15"/>
            </p:custDataLst>
          </p:nvPr>
        </p:nvSpPr>
        <p:spPr>
          <a:xfrm>
            <a:off x="6510767" y="2598280"/>
            <a:ext cx="2208046" cy="12837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1941"/>
                  <a:pt x="15986" y="21600"/>
                  <a:pt x="9044" y="21600"/>
                </a:cubicBezTo>
                <a:cubicBezTo>
                  <a:pt x="5492" y="21600"/>
                  <a:pt x="2266" y="19036"/>
                  <a:pt x="0" y="14927"/>
                </a:cubicBezTo>
              </a:path>
            </a:pathLst>
          </a:custGeom>
          <a:noFill/>
          <a:ln w="12700" cap="flat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9" name="任意多边形: 形状 198"/>
          <p:cNvSpPr/>
          <p:nvPr>
            <p:custDataLst>
              <p:tags r:id="rId16"/>
            </p:custDataLst>
          </p:nvPr>
        </p:nvSpPr>
        <p:spPr>
          <a:xfrm>
            <a:off x="7040429" y="2261235"/>
            <a:ext cx="675881" cy="6758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i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600" i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00" name="任意多边形: 形状 199"/>
          <p:cNvSpPr/>
          <p:nvPr>
            <p:custDataLst>
              <p:tags r:id="rId17"/>
            </p:custDataLst>
          </p:nvPr>
        </p:nvSpPr>
        <p:spPr>
          <a:xfrm>
            <a:off x="4416670" y="2261235"/>
            <a:ext cx="675881" cy="6758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i="1">
                <a:solidFill>
                  <a:srgbClr val="FFFFFF"/>
                </a:solidFill>
                <a:cs typeface="+mn-ea"/>
                <a:sym typeface="+mn-lt"/>
              </a:rPr>
              <a:t>Text</a:t>
            </a:r>
            <a:endParaRPr lang="en-US" altLang="zh-CN" sz="1600" i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01" name="任意多边形: 形状 200"/>
          <p:cNvSpPr/>
          <p:nvPr>
            <p:custDataLst>
              <p:tags r:id="rId18"/>
            </p:custDataLst>
          </p:nvPr>
        </p:nvSpPr>
        <p:spPr>
          <a:xfrm>
            <a:off x="2834461" y="1959557"/>
            <a:ext cx="1281028" cy="1279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dk1">
              <a:lumMod val="60000"/>
              <a:lumOff val="40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2" name="任意多边形: 形状 201"/>
          <p:cNvSpPr/>
          <p:nvPr>
            <p:custDataLst>
              <p:tags r:id="rId19"/>
            </p:custDataLst>
          </p:nvPr>
        </p:nvSpPr>
        <p:spPr>
          <a:xfrm>
            <a:off x="5399204" y="1959557"/>
            <a:ext cx="1279236" cy="1279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765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3" name="任意多边形: 形状 202"/>
          <p:cNvSpPr/>
          <p:nvPr>
            <p:custDataLst>
              <p:tags r:id="rId20"/>
            </p:custDataLst>
          </p:nvPr>
        </p:nvSpPr>
        <p:spPr>
          <a:xfrm>
            <a:off x="8078300" y="1959557"/>
            <a:ext cx="1279236" cy="1279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dk1">
              <a:lumMod val="60000"/>
              <a:lumOff val="40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4" name="任意多边形: 形状 203"/>
          <p:cNvSpPr/>
          <p:nvPr>
            <p:custDataLst>
              <p:tags r:id="rId21"/>
            </p:custDataLst>
          </p:nvPr>
        </p:nvSpPr>
        <p:spPr>
          <a:xfrm>
            <a:off x="6690978" y="1835945"/>
            <a:ext cx="133440" cy="1333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5878"/>
                </a:moveTo>
                <a:lnTo>
                  <a:pt x="5722" y="0"/>
                </a:lnTo>
                <a:lnTo>
                  <a:pt x="0" y="21600"/>
                </a:lnTo>
                <a:lnTo>
                  <a:pt x="21600" y="1587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5" name="任意多边形: 形状 204"/>
          <p:cNvSpPr/>
          <p:nvPr>
            <p:custDataLst>
              <p:tags r:id="rId22"/>
            </p:custDataLst>
          </p:nvPr>
        </p:nvSpPr>
        <p:spPr>
          <a:xfrm>
            <a:off x="6467144" y="3449966"/>
            <a:ext cx="134304" cy="1334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26" y="21600"/>
                </a:moveTo>
                <a:lnTo>
                  <a:pt x="21600" y="5722"/>
                </a:lnTo>
                <a:lnTo>
                  <a:pt x="0" y="0"/>
                </a:lnTo>
                <a:lnTo>
                  <a:pt x="5826" y="216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6" name="任意多边形: 形状 205"/>
          <p:cNvSpPr/>
          <p:nvPr>
            <p:custDataLst>
              <p:tags r:id="rId23"/>
            </p:custDataLst>
          </p:nvPr>
        </p:nvSpPr>
        <p:spPr>
          <a:xfrm>
            <a:off x="3150304" y="2328880"/>
            <a:ext cx="649340" cy="540585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lt1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7" name="任意多边形: 形状 206"/>
          <p:cNvSpPr/>
          <p:nvPr>
            <p:custDataLst>
              <p:tags r:id="rId24"/>
            </p:custDataLst>
          </p:nvPr>
        </p:nvSpPr>
        <p:spPr>
          <a:xfrm>
            <a:off x="5714151" y="2340640"/>
            <a:ext cx="649340" cy="517067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208" name="任意多边形: 形状 207"/>
          <p:cNvSpPr/>
          <p:nvPr>
            <p:custDataLst>
              <p:tags r:id="rId25"/>
            </p:custDataLst>
          </p:nvPr>
        </p:nvSpPr>
        <p:spPr>
          <a:xfrm>
            <a:off x="8477420" y="2274504"/>
            <a:ext cx="480992" cy="649339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lt1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82" name="矩形 181"/>
          <p:cNvSpPr/>
          <p:nvPr>
            <p:custDataLst>
              <p:tags r:id="rId26"/>
            </p:custDataLst>
          </p:nvPr>
        </p:nvSpPr>
        <p:spPr bwMode="auto">
          <a:xfrm>
            <a:off x="1220655" y="418283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83" name="文本框 182"/>
          <p:cNvSpPr txBox="1"/>
          <p:nvPr>
            <p:custDataLst>
              <p:tags r:id="rId27"/>
            </p:custDataLst>
          </p:nvPr>
        </p:nvSpPr>
        <p:spPr bwMode="auto">
          <a:xfrm>
            <a:off x="1220655" y="3687515"/>
            <a:ext cx="3509735" cy="39417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84" name="矩形 183"/>
          <p:cNvSpPr/>
          <p:nvPr>
            <p:custDataLst>
              <p:tags r:id="rId28"/>
            </p:custDataLst>
          </p:nvPr>
        </p:nvSpPr>
        <p:spPr bwMode="auto">
          <a:xfrm>
            <a:off x="1220655" y="518389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79" name="矩形 178"/>
          <p:cNvSpPr/>
          <p:nvPr>
            <p:custDataLst>
              <p:tags r:id="rId29"/>
            </p:custDataLst>
          </p:nvPr>
        </p:nvSpPr>
        <p:spPr bwMode="auto">
          <a:xfrm>
            <a:off x="7461610" y="418283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80" name="文本框 179"/>
          <p:cNvSpPr txBox="1"/>
          <p:nvPr>
            <p:custDataLst>
              <p:tags r:id="rId30"/>
            </p:custDataLst>
          </p:nvPr>
        </p:nvSpPr>
        <p:spPr bwMode="auto">
          <a:xfrm>
            <a:off x="7461610" y="3687515"/>
            <a:ext cx="3509735" cy="39417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81" name="矩形 180"/>
          <p:cNvSpPr/>
          <p:nvPr>
            <p:custDataLst>
              <p:tags r:id="rId31"/>
            </p:custDataLst>
          </p:nvPr>
        </p:nvSpPr>
        <p:spPr bwMode="auto">
          <a:xfrm>
            <a:off x="7461610" y="518389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</p:spTree>
    <p:custDataLst>
      <p:tags r:id="rId1"/>
    </p:custData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21" name="任意多边形: 形状 20"/>
          <p:cNvSpPr/>
          <p:nvPr>
            <p:custDataLst>
              <p:tags r:id="rId1"/>
            </p:custDataLst>
          </p:nvPr>
        </p:nvSpPr>
        <p:spPr bwMode="auto">
          <a:xfrm>
            <a:off x="4546422" y="2292595"/>
            <a:ext cx="1549577" cy="1905487"/>
          </a:xfrm>
          <a:custGeom>
            <a:avLst/>
            <a:gdLst>
              <a:gd name="T0" fmla="*/ 0 w 476"/>
              <a:gd name="T1" fmla="*/ 414 h 587"/>
              <a:gd name="T2" fmla="*/ 34 w 476"/>
              <a:gd name="T3" fmla="*/ 473 h 587"/>
              <a:gd name="T4" fmla="*/ 221 w 476"/>
              <a:gd name="T5" fmla="*/ 581 h 587"/>
              <a:gd name="T6" fmla="*/ 255 w 476"/>
              <a:gd name="T7" fmla="*/ 581 h 587"/>
              <a:gd name="T8" fmla="*/ 442 w 476"/>
              <a:gd name="T9" fmla="*/ 473 h 587"/>
              <a:gd name="T10" fmla="*/ 476 w 476"/>
              <a:gd name="T11" fmla="*/ 414 h 587"/>
              <a:gd name="T12" fmla="*/ 476 w 476"/>
              <a:gd name="T13" fmla="*/ 23 h 587"/>
              <a:gd name="T14" fmla="*/ 465 w 476"/>
              <a:gd name="T15" fmla="*/ 4 h 587"/>
              <a:gd name="T16" fmla="*/ 442 w 476"/>
              <a:gd name="T17" fmla="*/ 4 h 587"/>
              <a:gd name="T18" fmla="*/ 255 w 476"/>
              <a:gd name="T19" fmla="*/ 112 h 587"/>
              <a:gd name="T20" fmla="*/ 221 w 476"/>
              <a:gd name="T21" fmla="*/ 112 h 587"/>
              <a:gd name="T22" fmla="*/ 34 w 476"/>
              <a:gd name="T23" fmla="*/ 4 h 587"/>
              <a:gd name="T24" fmla="*/ 11 w 476"/>
              <a:gd name="T25" fmla="*/ 4 h 587"/>
              <a:gd name="T26" fmla="*/ 0 w 476"/>
              <a:gd name="T27" fmla="*/ 23 h 587"/>
              <a:gd name="T28" fmla="*/ 0 w 476"/>
              <a:gd name="T29" fmla="*/ 414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76" h="587">
                <a:moveTo>
                  <a:pt x="0" y="414"/>
                </a:moveTo>
                <a:cubicBezTo>
                  <a:pt x="0" y="438"/>
                  <a:pt x="13" y="461"/>
                  <a:pt x="34" y="473"/>
                </a:cubicBezTo>
                <a:cubicBezTo>
                  <a:pt x="221" y="581"/>
                  <a:pt x="221" y="581"/>
                  <a:pt x="221" y="581"/>
                </a:cubicBezTo>
                <a:cubicBezTo>
                  <a:pt x="232" y="587"/>
                  <a:pt x="245" y="587"/>
                  <a:pt x="255" y="581"/>
                </a:cubicBezTo>
                <a:cubicBezTo>
                  <a:pt x="442" y="473"/>
                  <a:pt x="442" y="473"/>
                  <a:pt x="442" y="473"/>
                </a:cubicBezTo>
                <a:cubicBezTo>
                  <a:pt x="463" y="461"/>
                  <a:pt x="476" y="438"/>
                  <a:pt x="476" y="414"/>
                </a:cubicBezTo>
                <a:cubicBezTo>
                  <a:pt x="476" y="23"/>
                  <a:pt x="476" y="23"/>
                  <a:pt x="476" y="23"/>
                </a:cubicBezTo>
                <a:cubicBezTo>
                  <a:pt x="476" y="15"/>
                  <a:pt x="472" y="8"/>
                  <a:pt x="465" y="4"/>
                </a:cubicBezTo>
                <a:cubicBezTo>
                  <a:pt x="458" y="0"/>
                  <a:pt x="449" y="0"/>
                  <a:pt x="442" y="4"/>
                </a:cubicBezTo>
                <a:cubicBezTo>
                  <a:pt x="255" y="112"/>
                  <a:pt x="255" y="112"/>
                  <a:pt x="255" y="112"/>
                </a:cubicBezTo>
                <a:cubicBezTo>
                  <a:pt x="245" y="118"/>
                  <a:pt x="232" y="118"/>
                  <a:pt x="221" y="112"/>
                </a:cubicBezTo>
                <a:cubicBezTo>
                  <a:pt x="34" y="4"/>
                  <a:pt x="34" y="4"/>
                  <a:pt x="34" y="4"/>
                </a:cubicBezTo>
                <a:cubicBezTo>
                  <a:pt x="27" y="0"/>
                  <a:pt x="18" y="0"/>
                  <a:pt x="11" y="4"/>
                </a:cubicBezTo>
                <a:cubicBezTo>
                  <a:pt x="4" y="8"/>
                  <a:pt x="0" y="15"/>
                  <a:pt x="0" y="23"/>
                </a:cubicBezTo>
                <a:lnTo>
                  <a:pt x="0" y="41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endParaRPr 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2" name="任意多边形: 形状 21"/>
          <p:cNvSpPr/>
          <p:nvPr>
            <p:custDataLst>
              <p:tags r:id="rId2"/>
            </p:custDataLst>
          </p:nvPr>
        </p:nvSpPr>
        <p:spPr bwMode="auto">
          <a:xfrm>
            <a:off x="4546422" y="2181715"/>
            <a:ext cx="1549577" cy="1905487"/>
          </a:xfrm>
          <a:custGeom>
            <a:avLst/>
            <a:gdLst>
              <a:gd name="T0" fmla="*/ 0 w 476"/>
              <a:gd name="T1" fmla="*/ 414 h 587"/>
              <a:gd name="T2" fmla="*/ 34 w 476"/>
              <a:gd name="T3" fmla="*/ 473 h 587"/>
              <a:gd name="T4" fmla="*/ 221 w 476"/>
              <a:gd name="T5" fmla="*/ 581 h 587"/>
              <a:gd name="T6" fmla="*/ 255 w 476"/>
              <a:gd name="T7" fmla="*/ 581 h 587"/>
              <a:gd name="T8" fmla="*/ 442 w 476"/>
              <a:gd name="T9" fmla="*/ 473 h 587"/>
              <a:gd name="T10" fmla="*/ 476 w 476"/>
              <a:gd name="T11" fmla="*/ 414 h 587"/>
              <a:gd name="T12" fmla="*/ 476 w 476"/>
              <a:gd name="T13" fmla="*/ 23 h 587"/>
              <a:gd name="T14" fmla="*/ 465 w 476"/>
              <a:gd name="T15" fmla="*/ 4 h 587"/>
              <a:gd name="T16" fmla="*/ 442 w 476"/>
              <a:gd name="T17" fmla="*/ 4 h 587"/>
              <a:gd name="T18" fmla="*/ 255 w 476"/>
              <a:gd name="T19" fmla="*/ 112 h 587"/>
              <a:gd name="T20" fmla="*/ 221 w 476"/>
              <a:gd name="T21" fmla="*/ 112 h 587"/>
              <a:gd name="T22" fmla="*/ 34 w 476"/>
              <a:gd name="T23" fmla="*/ 4 h 587"/>
              <a:gd name="T24" fmla="*/ 11 w 476"/>
              <a:gd name="T25" fmla="*/ 4 h 587"/>
              <a:gd name="T26" fmla="*/ 0 w 476"/>
              <a:gd name="T27" fmla="*/ 23 h 587"/>
              <a:gd name="T28" fmla="*/ 0 w 476"/>
              <a:gd name="T29" fmla="*/ 414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76" h="587">
                <a:moveTo>
                  <a:pt x="0" y="414"/>
                </a:moveTo>
                <a:cubicBezTo>
                  <a:pt x="0" y="438"/>
                  <a:pt x="13" y="461"/>
                  <a:pt x="34" y="473"/>
                </a:cubicBezTo>
                <a:cubicBezTo>
                  <a:pt x="221" y="581"/>
                  <a:pt x="221" y="581"/>
                  <a:pt x="221" y="581"/>
                </a:cubicBezTo>
                <a:cubicBezTo>
                  <a:pt x="232" y="587"/>
                  <a:pt x="245" y="587"/>
                  <a:pt x="255" y="581"/>
                </a:cubicBezTo>
                <a:cubicBezTo>
                  <a:pt x="442" y="473"/>
                  <a:pt x="442" y="473"/>
                  <a:pt x="442" y="473"/>
                </a:cubicBezTo>
                <a:cubicBezTo>
                  <a:pt x="463" y="461"/>
                  <a:pt x="476" y="438"/>
                  <a:pt x="476" y="414"/>
                </a:cubicBezTo>
                <a:cubicBezTo>
                  <a:pt x="476" y="23"/>
                  <a:pt x="476" y="23"/>
                  <a:pt x="476" y="23"/>
                </a:cubicBezTo>
                <a:cubicBezTo>
                  <a:pt x="476" y="15"/>
                  <a:pt x="472" y="8"/>
                  <a:pt x="465" y="4"/>
                </a:cubicBezTo>
                <a:cubicBezTo>
                  <a:pt x="458" y="0"/>
                  <a:pt x="449" y="0"/>
                  <a:pt x="442" y="4"/>
                </a:cubicBezTo>
                <a:cubicBezTo>
                  <a:pt x="255" y="112"/>
                  <a:pt x="255" y="112"/>
                  <a:pt x="255" y="112"/>
                </a:cubicBezTo>
                <a:cubicBezTo>
                  <a:pt x="245" y="118"/>
                  <a:pt x="232" y="118"/>
                  <a:pt x="221" y="112"/>
                </a:cubicBezTo>
                <a:cubicBezTo>
                  <a:pt x="34" y="4"/>
                  <a:pt x="34" y="4"/>
                  <a:pt x="34" y="4"/>
                </a:cubicBezTo>
                <a:cubicBezTo>
                  <a:pt x="27" y="0"/>
                  <a:pt x="18" y="0"/>
                  <a:pt x="11" y="4"/>
                </a:cubicBezTo>
                <a:cubicBezTo>
                  <a:pt x="4" y="8"/>
                  <a:pt x="0" y="15"/>
                  <a:pt x="0" y="23"/>
                </a:cubicBezTo>
                <a:lnTo>
                  <a:pt x="0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3" name="椭圆 22"/>
          <p:cNvSpPr/>
          <p:nvPr>
            <p:custDataLst>
              <p:tags r:id="rId3"/>
            </p:custDataLst>
          </p:nvPr>
        </p:nvSpPr>
        <p:spPr>
          <a:xfrm>
            <a:off x="4987835" y="2911963"/>
            <a:ext cx="666750" cy="666750"/>
          </a:xfrm>
          <a:prstGeom prst="ellipse">
            <a:avLst/>
          </a:pr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8" name="任意多边形: 形状 17"/>
          <p:cNvSpPr/>
          <p:nvPr>
            <p:custDataLst>
              <p:tags r:id="rId4"/>
            </p:custDataLst>
          </p:nvPr>
        </p:nvSpPr>
        <p:spPr bwMode="auto">
          <a:xfrm flipV="1">
            <a:off x="6096000" y="3079018"/>
            <a:ext cx="1549577" cy="1905487"/>
          </a:xfrm>
          <a:custGeom>
            <a:avLst/>
            <a:gdLst>
              <a:gd name="T0" fmla="*/ 0 w 476"/>
              <a:gd name="T1" fmla="*/ 414 h 587"/>
              <a:gd name="T2" fmla="*/ 34 w 476"/>
              <a:gd name="T3" fmla="*/ 473 h 587"/>
              <a:gd name="T4" fmla="*/ 221 w 476"/>
              <a:gd name="T5" fmla="*/ 581 h 587"/>
              <a:gd name="T6" fmla="*/ 255 w 476"/>
              <a:gd name="T7" fmla="*/ 581 h 587"/>
              <a:gd name="T8" fmla="*/ 442 w 476"/>
              <a:gd name="T9" fmla="*/ 473 h 587"/>
              <a:gd name="T10" fmla="*/ 476 w 476"/>
              <a:gd name="T11" fmla="*/ 414 h 587"/>
              <a:gd name="T12" fmla="*/ 476 w 476"/>
              <a:gd name="T13" fmla="*/ 23 h 587"/>
              <a:gd name="T14" fmla="*/ 465 w 476"/>
              <a:gd name="T15" fmla="*/ 4 h 587"/>
              <a:gd name="T16" fmla="*/ 442 w 476"/>
              <a:gd name="T17" fmla="*/ 4 h 587"/>
              <a:gd name="T18" fmla="*/ 255 w 476"/>
              <a:gd name="T19" fmla="*/ 112 h 587"/>
              <a:gd name="T20" fmla="*/ 221 w 476"/>
              <a:gd name="T21" fmla="*/ 112 h 587"/>
              <a:gd name="T22" fmla="*/ 34 w 476"/>
              <a:gd name="T23" fmla="*/ 4 h 587"/>
              <a:gd name="T24" fmla="*/ 11 w 476"/>
              <a:gd name="T25" fmla="*/ 4 h 587"/>
              <a:gd name="T26" fmla="*/ 0 w 476"/>
              <a:gd name="T27" fmla="*/ 23 h 587"/>
              <a:gd name="T28" fmla="*/ 0 w 476"/>
              <a:gd name="T29" fmla="*/ 414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76" h="587">
                <a:moveTo>
                  <a:pt x="0" y="414"/>
                </a:moveTo>
                <a:cubicBezTo>
                  <a:pt x="0" y="438"/>
                  <a:pt x="13" y="461"/>
                  <a:pt x="34" y="473"/>
                </a:cubicBezTo>
                <a:cubicBezTo>
                  <a:pt x="221" y="581"/>
                  <a:pt x="221" y="581"/>
                  <a:pt x="221" y="581"/>
                </a:cubicBezTo>
                <a:cubicBezTo>
                  <a:pt x="232" y="587"/>
                  <a:pt x="245" y="587"/>
                  <a:pt x="255" y="581"/>
                </a:cubicBezTo>
                <a:cubicBezTo>
                  <a:pt x="442" y="473"/>
                  <a:pt x="442" y="473"/>
                  <a:pt x="442" y="473"/>
                </a:cubicBezTo>
                <a:cubicBezTo>
                  <a:pt x="463" y="461"/>
                  <a:pt x="476" y="438"/>
                  <a:pt x="476" y="414"/>
                </a:cubicBezTo>
                <a:cubicBezTo>
                  <a:pt x="476" y="23"/>
                  <a:pt x="476" y="23"/>
                  <a:pt x="476" y="23"/>
                </a:cubicBezTo>
                <a:cubicBezTo>
                  <a:pt x="476" y="15"/>
                  <a:pt x="472" y="8"/>
                  <a:pt x="465" y="4"/>
                </a:cubicBezTo>
                <a:cubicBezTo>
                  <a:pt x="458" y="0"/>
                  <a:pt x="449" y="0"/>
                  <a:pt x="442" y="4"/>
                </a:cubicBezTo>
                <a:cubicBezTo>
                  <a:pt x="255" y="112"/>
                  <a:pt x="255" y="112"/>
                  <a:pt x="255" y="112"/>
                </a:cubicBezTo>
                <a:cubicBezTo>
                  <a:pt x="245" y="118"/>
                  <a:pt x="232" y="118"/>
                  <a:pt x="221" y="112"/>
                </a:cubicBezTo>
                <a:cubicBezTo>
                  <a:pt x="34" y="4"/>
                  <a:pt x="34" y="4"/>
                  <a:pt x="34" y="4"/>
                </a:cubicBezTo>
                <a:cubicBezTo>
                  <a:pt x="27" y="0"/>
                  <a:pt x="18" y="0"/>
                  <a:pt x="11" y="4"/>
                </a:cubicBezTo>
                <a:cubicBezTo>
                  <a:pt x="4" y="8"/>
                  <a:pt x="0" y="15"/>
                  <a:pt x="0" y="23"/>
                </a:cubicBezTo>
                <a:lnTo>
                  <a:pt x="0" y="414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endParaRPr 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>
            <p:custDataLst>
              <p:tags r:id="rId5"/>
            </p:custDataLst>
          </p:nvPr>
        </p:nvSpPr>
        <p:spPr bwMode="auto">
          <a:xfrm flipV="1">
            <a:off x="6096000" y="3189898"/>
            <a:ext cx="1549577" cy="1905487"/>
          </a:xfrm>
          <a:custGeom>
            <a:avLst/>
            <a:gdLst>
              <a:gd name="T0" fmla="*/ 0 w 476"/>
              <a:gd name="T1" fmla="*/ 414 h 587"/>
              <a:gd name="T2" fmla="*/ 34 w 476"/>
              <a:gd name="T3" fmla="*/ 473 h 587"/>
              <a:gd name="T4" fmla="*/ 221 w 476"/>
              <a:gd name="T5" fmla="*/ 581 h 587"/>
              <a:gd name="T6" fmla="*/ 255 w 476"/>
              <a:gd name="T7" fmla="*/ 581 h 587"/>
              <a:gd name="T8" fmla="*/ 442 w 476"/>
              <a:gd name="T9" fmla="*/ 473 h 587"/>
              <a:gd name="T10" fmla="*/ 476 w 476"/>
              <a:gd name="T11" fmla="*/ 414 h 587"/>
              <a:gd name="T12" fmla="*/ 476 w 476"/>
              <a:gd name="T13" fmla="*/ 23 h 587"/>
              <a:gd name="T14" fmla="*/ 465 w 476"/>
              <a:gd name="T15" fmla="*/ 4 h 587"/>
              <a:gd name="T16" fmla="*/ 442 w 476"/>
              <a:gd name="T17" fmla="*/ 4 h 587"/>
              <a:gd name="T18" fmla="*/ 255 w 476"/>
              <a:gd name="T19" fmla="*/ 112 h 587"/>
              <a:gd name="T20" fmla="*/ 221 w 476"/>
              <a:gd name="T21" fmla="*/ 112 h 587"/>
              <a:gd name="T22" fmla="*/ 34 w 476"/>
              <a:gd name="T23" fmla="*/ 4 h 587"/>
              <a:gd name="T24" fmla="*/ 11 w 476"/>
              <a:gd name="T25" fmla="*/ 4 h 587"/>
              <a:gd name="T26" fmla="*/ 0 w 476"/>
              <a:gd name="T27" fmla="*/ 23 h 587"/>
              <a:gd name="T28" fmla="*/ 0 w 476"/>
              <a:gd name="T29" fmla="*/ 414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76" h="587">
                <a:moveTo>
                  <a:pt x="0" y="414"/>
                </a:moveTo>
                <a:cubicBezTo>
                  <a:pt x="0" y="438"/>
                  <a:pt x="13" y="461"/>
                  <a:pt x="34" y="473"/>
                </a:cubicBezTo>
                <a:cubicBezTo>
                  <a:pt x="221" y="581"/>
                  <a:pt x="221" y="581"/>
                  <a:pt x="221" y="581"/>
                </a:cubicBezTo>
                <a:cubicBezTo>
                  <a:pt x="232" y="587"/>
                  <a:pt x="245" y="587"/>
                  <a:pt x="255" y="581"/>
                </a:cubicBezTo>
                <a:cubicBezTo>
                  <a:pt x="442" y="473"/>
                  <a:pt x="442" y="473"/>
                  <a:pt x="442" y="473"/>
                </a:cubicBezTo>
                <a:cubicBezTo>
                  <a:pt x="463" y="461"/>
                  <a:pt x="476" y="438"/>
                  <a:pt x="476" y="414"/>
                </a:cubicBezTo>
                <a:cubicBezTo>
                  <a:pt x="476" y="23"/>
                  <a:pt x="476" y="23"/>
                  <a:pt x="476" y="23"/>
                </a:cubicBezTo>
                <a:cubicBezTo>
                  <a:pt x="476" y="15"/>
                  <a:pt x="472" y="8"/>
                  <a:pt x="465" y="4"/>
                </a:cubicBezTo>
                <a:cubicBezTo>
                  <a:pt x="458" y="0"/>
                  <a:pt x="449" y="0"/>
                  <a:pt x="442" y="4"/>
                </a:cubicBezTo>
                <a:cubicBezTo>
                  <a:pt x="255" y="112"/>
                  <a:pt x="255" y="112"/>
                  <a:pt x="255" y="112"/>
                </a:cubicBezTo>
                <a:cubicBezTo>
                  <a:pt x="245" y="118"/>
                  <a:pt x="232" y="118"/>
                  <a:pt x="221" y="112"/>
                </a:cubicBezTo>
                <a:cubicBezTo>
                  <a:pt x="34" y="4"/>
                  <a:pt x="34" y="4"/>
                  <a:pt x="34" y="4"/>
                </a:cubicBezTo>
                <a:cubicBezTo>
                  <a:pt x="27" y="0"/>
                  <a:pt x="18" y="0"/>
                  <a:pt x="11" y="4"/>
                </a:cubicBezTo>
                <a:cubicBezTo>
                  <a:pt x="4" y="8"/>
                  <a:pt x="0" y="15"/>
                  <a:pt x="0" y="23"/>
                </a:cubicBezTo>
                <a:lnTo>
                  <a:pt x="0" y="41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0" name="椭圆 19"/>
          <p:cNvSpPr/>
          <p:nvPr>
            <p:custDataLst>
              <p:tags r:id="rId6"/>
            </p:custDataLst>
          </p:nvPr>
        </p:nvSpPr>
        <p:spPr>
          <a:xfrm>
            <a:off x="6537413" y="3698387"/>
            <a:ext cx="666750" cy="666750"/>
          </a:xfrm>
          <a:prstGeom prst="ellipse">
            <a:avLst/>
          </a:pr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cxnSp>
        <p:nvCxnSpPr>
          <p:cNvPr id="8" name="直接连接符 7"/>
          <p:cNvCxnSpPr>
            <a:stCxn id="21" idx="2"/>
          </p:cNvCxnSpPr>
          <p:nvPr>
            <p:custDataLst>
              <p:tags r:id="rId7"/>
            </p:custDataLst>
          </p:nvPr>
        </p:nvCxnSpPr>
        <p:spPr>
          <a:xfrm flipH="1">
            <a:off x="669925" y="4178605"/>
            <a:ext cx="4595943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>
            <a:stCxn id="18" idx="3"/>
          </p:cNvCxnSpPr>
          <p:nvPr>
            <p:custDataLst>
              <p:tags r:id="rId8"/>
            </p:custDataLst>
          </p:nvPr>
        </p:nvCxnSpPr>
        <p:spPr>
          <a:xfrm flipV="1">
            <a:off x="6926131" y="3079019"/>
            <a:ext cx="4594357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>
            <p:custDataLst>
              <p:tags r:id="rId9"/>
            </p:custDataLst>
          </p:nvPr>
        </p:nvSpPr>
        <p:spPr bwMode="auto">
          <a:xfrm>
            <a:off x="893807" y="1302637"/>
            <a:ext cx="343190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6" name="矩形 15"/>
          <p:cNvSpPr/>
          <p:nvPr>
            <p:custDataLst>
              <p:tags r:id="rId10"/>
            </p:custDataLst>
          </p:nvPr>
        </p:nvSpPr>
        <p:spPr bwMode="auto">
          <a:xfrm>
            <a:off x="893807" y="1832280"/>
            <a:ext cx="3431908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7" name="矩形 16"/>
          <p:cNvSpPr/>
          <p:nvPr>
            <p:custDataLst>
              <p:tags r:id="rId11"/>
            </p:custDataLst>
          </p:nvPr>
        </p:nvSpPr>
        <p:spPr bwMode="auto">
          <a:xfrm>
            <a:off x="893807" y="2962580"/>
            <a:ext cx="3431908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2" name="文本框 11"/>
          <p:cNvSpPr txBox="1"/>
          <p:nvPr>
            <p:custDataLst>
              <p:tags r:id="rId12"/>
            </p:custDataLst>
          </p:nvPr>
        </p:nvSpPr>
        <p:spPr bwMode="auto">
          <a:xfrm>
            <a:off x="7866284" y="3164744"/>
            <a:ext cx="343190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3" name="矩形 12"/>
          <p:cNvSpPr/>
          <p:nvPr>
            <p:custDataLst>
              <p:tags r:id="rId13"/>
            </p:custDataLst>
          </p:nvPr>
        </p:nvSpPr>
        <p:spPr bwMode="auto">
          <a:xfrm>
            <a:off x="7866284" y="3694387"/>
            <a:ext cx="3431908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" name="矩形 13"/>
          <p:cNvSpPr/>
          <p:nvPr>
            <p:custDataLst>
              <p:tags r:id="rId14"/>
            </p:custDataLst>
          </p:nvPr>
        </p:nvSpPr>
        <p:spPr bwMode="auto">
          <a:xfrm>
            <a:off x="7866284" y="4824687"/>
            <a:ext cx="3431908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>
              <a:solidFill>
                <a:schemeClr val="dk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72" name="任意多边形: 形状 71"/>
          <p:cNvSpPr/>
          <p:nvPr>
            <p:custDataLst>
              <p:tags r:id="rId2"/>
            </p:custDataLst>
          </p:nvPr>
        </p:nvSpPr>
        <p:spPr bwMode="auto">
          <a:xfrm>
            <a:off x="674688" y="1716182"/>
            <a:ext cx="3494296" cy="3844736"/>
          </a:xfrm>
          <a:custGeom>
            <a:avLst/>
            <a:gdLst>
              <a:gd name="T0" fmla="*/ 283 w 2074"/>
              <a:gd name="T1" fmla="*/ 0 h 2282"/>
              <a:gd name="T2" fmla="*/ 1306 w 2074"/>
              <a:gd name="T3" fmla="*/ 0 h 2282"/>
              <a:gd name="T4" fmla="*/ 1350 w 2074"/>
              <a:gd name="T5" fmla="*/ 5 h 2282"/>
              <a:gd name="T6" fmla="*/ 1394 w 2074"/>
              <a:gd name="T7" fmla="*/ 17 h 2282"/>
              <a:gd name="T8" fmla="*/ 1434 w 2074"/>
              <a:gd name="T9" fmla="*/ 36 h 2282"/>
              <a:gd name="T10" fmla="*/ 1471 w 2074"/>
              <a:gd name="T11" fmla="*/ 61 h 2282"/>
              <a:gd name="T12" fmla="*/ 1503 w 2074"/>
              <a:gd name="T13" fmla="*/ 91 h 2282"/>
              <a:gd name="T14" fmla="*/ 1529 w 2074"/>
              <a:gd name="T15" fmla="*/ 129 h 2282"/>
              <a:gd name="T16" fmla="*/ 2040 w 2074"/>
              <a:gd name="T17" fmla="*/ 1010 h 2282"/>
              <a:gd name="T18" fmla="*/ 2058 w 2074"/>
              <a:gd name="T19" fmla="*/ 1052 h 2282"/>
              <a:gd name="T20" fmla="*/ 2070 w 2074"/>
              <a:gd name="T21" fmla="*/ 1096 h 2282"/>
              <a:gd name="T22" fmla="*/ 2074 w 2074"/>
              <a:gd name="T23" fmla="*/ 1139 h 2282"/>
              <a:gd name="T24" fmla="*/ 2070 w 2074"/>
              <a:gd name="T25" fmla="*/ 1185 h 2282"/>
              <a:gd name="T26" fmla="*/ 2058 w 2074"/>
              <a:gd name="T27" fmla="*/ 1227 h 2282"/>
              <a:gd name="T28" fmla="*/ 2040 w 2074"/>
              <a:gd name="T29" fmla="*/ 1269 h 2282"/>
              <a:gd name="T30" fmla="*/ 1529 w 2074"/>
              <a:gd name="T31" fmla="*/ 2152 h 2282"/>
              <a:gd name="T32" fmla="*/ 1503 w 2074"/>
              <a:gd name="T33" fmla="*/ 2189 h 2282"/>
              <a:gd name="T34" fmla="*/ 1471 w 2074"/>
              <a:gd name="T35" fmla="*/ 2221 h 2282"/>
              <a:gd name="T36" fmla="*/ 1434 w 2074"/>
              <a:gd name="T37" fmla="*/ 2247 h 2282"/>
              <a:gd name="T38" fmla="*/ 1394 w 2074"/>
              <a:gd name="T39" fmla="*/ 2265 h 2282"/>
              <a:gd name="T40" fmla="*/ 1350 w 2074"/>
              <a:gd name="T41" fmla="*/ 2277 h 2282"/>
              <a:gd name="T42" fmla="*/ 1306 w 2074"/>
              <a:gd name="T43" fmla="*/ 2282 h 2282"/>
              <a:gd name="T44" fmla="*/ 283 w 2074"/>
              <a:gd name="T45" fmla="*/ 2282 h 2282"/>
              <a:gd name="T46" fmla="*/ 238 w 2074"/>
              <a:gd name="T47" fmla="*/ 2277 h 2282"/>
              <a:gd name="T48" fmla="*/ 194 w 2074"/>
              <a:gd name="T49" fmla="*/ 2265 h 2282"/>
              <a:gd name="T50" fmla="*/ 154 w 2074"/>
              <a:gd name="T51" fmla="*/ 2247 h 2282"/>
              <a:gd name="T52" fmla="*/ 118 w 2074"/>
              <a:gd name="T53" fmla="*/ 2221 h 2282"/>
              <a:gd name="T54" fmla="*/ 86 w 2074"/>
              <a:gd name="T55" fmla="*/ 2189 h 2282"/>
              <a:gd name="T56" fmla="*/ 59 w 2074"/>
              <a:gd name="T57" fmla="*/ 2152 h 2282"/>
              <a:gd name="T58" fmla="*/ 0 w 2074"/>
              <a:gd name="T59" fmla="*/ 2049 h 2282"/>
              <a:gd name="T60" fmla="*/ 800 w 2074"/>
              <a:gd name="T61" fmla="*/ 2049 h 2282"/>
              <a:gd name="T62" fmla="*/ 844 w 2074"/>
              <a:gd name="T63" fmla="*/ 2044 h 2282"/>
              <a:gd name="T64" fmla="*/ 884 w 2074"/>
              <a:gd name="T65" fmla="*/ 2031 h 2282"/>
              <a:gd name="T66" fmla="*/ 921 w 2074"/>
              <a:gd name="T67" fmla="*/ 2010 h 2282"/>
              <a:gd name="T68" fmla="*/ 953 w 2074"/>
              <a:gd name="T69" fmla="*/ 1982 h 2282"/>
              <a:gd name="T70" fmla="*/ 979 w 2074"/>
              <a:gd name="T71" fmla="*/ 1946 h 2282"/>
              <a:gd name="T72" fmla="*/ 1385 w 2074"/>
              <a:gd name="T73" fmla="*/ 1242 h 2282"/>
              <a:gd name="T74" fmla="*/ 1402 w 2074"/>
              <a:gd name="T75" fmla="*/ 1204 h 2282"/>
              <a:gd name="T76" fmla="*/ 1411 w 2074"/>
              <a:gd name="T77" fmla="*/ 1161 h 2282"/>
              <a:gd name="T78" fmla="*/ 1411 w 2074"/>
              <a:gd name="T79" fmla="*/ 1118 h 2282"/>
              <a:gd name="T80" fmla="*/ 1402 w 2074"/>
              <a:gd name="T81" fmla="*/ 1077 h 2282"/>
              <a:gd name="T82" fmla="*/ 1385 w 2074"/>
              <a:gd name="T83" fmla="*/ 1037 h 2282"/>
              <a:gd name="T84" fmla="*/ 979 w 2074"/>
              <a:gd name="T85" fmla="*/ 334 h 2282"/>
              <a:gd name="T86" fmla="*/ 958 w 2074"/>
              <a:gd name="T87" fmla="*/ 306 h 2282"/>
              <a:gd name="T88" fmla="*/ 933 w 2074"/>
              <a:gd name="T89" fmla="*/ 280 h 2282"/>
              <a:gd name="T90" fmla="*/ 903 w 2074"/>
              <a:gd name="T91" fmla="*/ 260 h 2282"/>
              <a:gd name="T92" fmla="*/ 871 w 2074"/>
              <a:gd name="T93" fmla="*/ 245 h 2282"/>
              <a:gd name="T94" fmla="*/ 837 w 2074"/>
              <a:gd name="T95" fmla="*/ 237 h 2282"/>
              <a:gd name="T96" fmla="*/ 800 w 2074"/>
              <a:gd name="T97" fmla="*/ 233 h 2282"/>
              <a:gd name="T98" fmla="*/ 0 w 2074"/>
              <a:gd name="T99" fmla="*/ 233 h 2282"/>
              <a:gd name="T100" fmla="*/ 59 w 2074"/>
              <a:gd name="T101" fmla="*/ 130 h 2282"/>
              <a:gd name="T102" fmla="*/ 86 w 2074"/>
              <a:gd name="T103" fmla="*/ 93 h 2282"/>
              <a:gd name="T104" fmla="*/ 118 w 2074"/>
              <a:gd name="T105" fmla="*/ 61 h 2282"/>
              <a:gd name="T106" fmla="*/ 154 w 2074"/>
              <a:gd name="T107" fmla="*/ 36 h 2282"/>
              <a:gd name="T108" fmla="*/ 194 w 2074"/>
              <a:gd name="T109" fmla="*/ 17 h 2282"/>
              <a:gd name="T110" fmla="*/ 238 w 2074"/>
              <a:gd name="T111" fmla="*/ 5 h 2282"/>
              <a:gd name="T112" fmla="*/ 283 w 2074"/>
              <a:gd name="T113" fmla="*/ 0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74" h="2282">
                <a:moveTo>
                  <a:pt x="283" y="0"/>
                </a:moveTo>
                <a:lnTo>
                  <a:pt x="1306" y="0"/>
                </a:lnTo>
                <a:lnTo>
                  <a:pt x="1350" y="5"/>
                </a:lnTo>
                <a:lnTo>
                  <a:pt x="1394" y="17"/>
                </a:lnTo>
                <a:lnTo>
                  <a:pt x="1434" y="36"/>
                </a:lnTo>
                <a:lnTo>
                  <a:pt x="1471" y="61"/>
                </a:lnTo>
                <a:lnTo>
                  <a:pt x="1503" y="91"/>
                </a:lnTo>
                <a:lnTo>
                  <a:pt x="1529" y="129"/>
                </a:lnTo>
                <a:lnTo>
                  <a:pt x="2040" y="1010"/>
                </a:lnTo>
                <a:lnTo>
                  <a:pt x="2058" y="1052"/>
                </a:lnTo>
                <a:lnTo>
                  <a:pt x="2070" y="1096"/>
                </a:lnTo>
                <a:lnTo>
                  <a:pt x="2074" y="1139"/>
                </a:lnTo>
                <a:lnTo>
                  <a:pt x="2070" y="1185"/>
                </a:lnTo>
                <a:lnTo>
                  <a:pt x="2058" y="1227"/>
                </a:lnTo>
                <a:lnTo>
                  <a:pt x="2040" y="1269"/>
                </a:lnTo>
                <a:lnTo>
                  <a:pt x="1529" y="2152"/>
                </a:lnTo>
                <a:lnTo>
                  <a:pt x="1503" y="2189"/>
                </a:lnTo>
                <a:lnTo>
                  <a:pt x="1471" y="2221"/>
                </a:lnTo>
                <a:lnTo>
                  <a:pt x="1434" y="2247"/>
                </a:lnTo>
                <a:lnTo>
                  <a:pt x="1394" y="2265"/>
                </a:lnTo>
                <a:lnTo>
                  <a:pt x="1350" y="2277"/>
                </a:lnTo>
                <a:lnTo>
                  <a:pt x="1306" y="2282"/>
                </a:lnTo>
                <a:lnTo>
                  <a:pt x="283" y="2282"/>
                </a:lnTo>
                <a:lnTo>
                  <a:pt x="238" y="2277"/>
                </a:lnTo>
                <a:lnTo>
                  <a:pt x="194" y="2265"/>
                </a:lnTo>
                <a:lnTo>
                  <a:pt x="154" y="2247"/>
                </a:lnTo>
                <a:lnTo>
                  <a:pt x="118" y="2221"/>
                </a:lnTo>
                <a:lnTo>
                  <a:pt x="86" y="2189"/>
                </a:lnTo>
                <a:lnTo>
                  <a:pt x="59" y="2152"/>
                </a:lnTo>
                <a:lnTo>
                  <a:pt x="0" y="2049"/>
                </a:lnTo>
                <a:lnTo>
                  <a:pt x="800" y="2049"/>
                </a:lnTo>
                <a:lnTo>
                  <a:pt x="844" y="2044"/>
                </a:lnTo>
                <a:lnTo>
                  <a:pt x="884" y="2031"/>
                </a:lnTo>
                <a:lnTo>
                  <a:pt x="921" y="2010"/>
                </a:lnTo>
                <a:lnTo>
                  <a:pt x="953" y="1982"/>
                </a:lnTo>
                <a:lnTo>
                  <a:pt x="979" y="1946"/>
                </a:lnTo>
                <a:lnTo>
                  <a:pt x="1385" y="1242"/>
                </a:lnTo>
                <a:lnTo>
                  <a:pt x="1402" y="1204"/>
                </a:lnTo>
                <a:lnTo>
                  <a:pt x="1411" y="1161"/>
                </a:lnTo>
                <a:lnTo>
                  <a:pt x="1411" y="1118"/>
                </a:lnTo>
                <a:lnTo>
                  <a:pt x="1402" y="1077"/>
                </a:lnTo>
                <a:lnTo>
                  <a:pt x="1385" y="1037"/>
                </a:lnTo>
                <a:lnTo>
                  <a:pt x="979" y="334"/>
                </a:lnTo>
                <a:lnTo>
                  <a:pt x="958" y="306"/>
                </a:lnTo>
                <a:lnTo>
                  <a:pt x="933" y="280"/>
                </a:lnTo>
                <a:lnTo>
                  <a:pt x="903" y="260"/>
                </a:lnTo>
                <a:lnTo>
                  <a:pt x="871" y="245"/>
                </a:lnTo>
                <a:lnTo>
                  <a:pt x="837" y="237"/>
                </a:lnTo>
                <a:lnTo>
                  <a:pt x="800" y="233"/>
                </a:lnTo>
                <a:lnTo>
                  <a:pt x="0" y="233"/>
                </a:lnTo>
                <a:lnTo>
                  <a:pt x="59" y="130"/>
                </a:lnTo>
                <a:lnTo>
                  <a:pt x="86" y="93"/>
                </a:lnTo>
                <a:lnTo>
                  <a:pt x="118" y="61"/>
                </a:lnTo>
                <a:lnTo>
                  <a:pt x="154" y="36"/>
                </a:lnTo>
                <a:lnTo>
                  <a:pt x="194" y="17"/>
                </a:lnTo>
                <a:lnTo>
                  <a:pt x="238" y="5"/>
                </a:lnTo>
                <a:lnTo>
                  <a:pt x="283" y="0"/>
                </a:lnTo>
                <a:close/>
              </a:path>
            </a:pathLst>
          </a:custGeom>
          <a:solidFill>
            <a:srgbClr val="2C7AC4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89" name="矩形 88"/>
          <p:cNvSpPr/>
          <p:nvPr>
            <p:custDataLst>
              <p:tags r:id="rId3"/>
            </p:custDataLst>
          </p:nvPr>
        </p:nvSpPr>
        <p:spPr bwMode="auto">
          <a:xfrm>
            <a:off x="671513" y="3520177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90" name="文本框 89"/>
          <p:cNvSpPr txBox="1"/>
          <p:nvPr>
            <p:custDataLst>
              <p:tags r:id="rId4"/>
            </p:custDataLst>
          </p:nvPr>
        </p:nvSpPr>
        <p:spPr bwMode="auto">
          <a:xfrm>
            <a:off x="671513" y="2871893"/>
            <a:ext cx="2039484" cy="5492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91" name="矩形 90"/>
          <p:cNvSpPr/>
          <p:nvPr>
            <p:custDataLst>
              <p:tags r:id="rId5"/>
            </p:custDataLst>
          </p:nvPr>
        </p:nvSpPr>
        <p:spPr bwMode="auto">
          <a:xfrm>
            <a:off x="671513" y="4199915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cxnSp>
        <p:nvCxnSpPr>
          <p:cNvPr id="92" name="直接连接符 91"/>
          <p:cNvCxnSpPr/>
          <p:nvPr>
            <p:custDataLst>
              <p:tags r:id="rId6"/>
            </p:custDataLst>
          </p:nvPr>
        </p:nvCxnSpPr>
        <p:spPr>
          <a:xfrm>
            <a:off x="671513" y="4170128"/>
            <a:ext cx="2039484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任意多边形: 形状 73"/>
          <p:cNvSpPr/>
          <p:nvPr>
            <p:custDataLst>
              <p:tags r:id="rId7"/>
            </p:custDataLst>
          </p:nvPr>
        </p:nvSpPr>
        <p:spPr>
          <a:xfrm>
            <a:off x="8137950" y="2336000"/>
            <a:ext cx="504626" cy="459570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lt1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75" name="任意多边形: 形状 74"/>
          <p:cNvSpPr/>
          <p:nvPr>
            <p:custDataLst>
              <p:tags r:id="rId8"/>
            </p:custDataLst>
          </p:nvPr>
        </p:nvSpPr>
        <p:spPr bwMode="auto">
          <a:xfrm>
            <a:off x="4350439" y="1716182"/>
            <a:ext cx="3494296" cy="3844736"/>
          </a:xfrm>
          <a:custGeom>
            <a:avLst/>
            <a:gdLst>
              <a:gd name="T0" fmla="*/ 283 w 2074"/>
              <a:gd name="T1" fmla="*/ 0 h 2282"/>
              <a:gd name="T2" fmla="*/ 1306 w 2074"/>
              <a:gd name="T3" fmla="*/ 0 h 2282"/>
              <a:gd name="T4" fmla="*/ 1350 w 2074"/>
              <a:gd name="T5" fmla="*/ 5 h 2282"/>
              <a:gd name="T6" fmla="*/ 1394 w 2074"/>
              <a:gd name="T7" fmla="*/ 17 h 2282"/>
              <a:gd name="T8" fmla="*/ 1434 w 2074"/>
              <a:gd name="T9" fmla="*/ 36 h 2282"/>
              <a:gd name="T10" fmla="*/ 1471 w 2074"/>
              <a:gd name="T11" fmla="*/ 61 h 2282"/>
              <a:gd name="T12" fmla="*/ 1503 w 2074"/>
              <a:gd name="T13" fmla="*/ 91 h 2282"/>
              <a:gd name="T14" fmla="*/ 1529 w 2074"/>
              <a:gd name="T15" fmla="*/ 129 h 2282"/>
              <a:gd name="T16" fmla="*/ 2040 w 2074"/>
              <a:gd name="T17" fmla="*/ 1010 h 2282"/>
              <a:gd name="T18" fmla="*/ 2058 w 2074"/>
              <a:gd name="T19" fmla="*/ 1052 h 2282"/>
              <a:gd name="T20" fmla="*/ 2070 w 2074"/>
              <a:gd name="T21" fmla="*/ 1096 h 2282"/>
              <a:gd name="T22" fmla="*/ 2074 w 2074"/>
              <a:gd name="T23" fmla="*/ 1139 h 2282"/>
              <a:gd name="T24" fmla="*/ 2070 w 2074"/>
              <a:gd name="T25" fmla="*/ 1185 h 2282"/>
              <a:gd name="T26" fmla="*/ 2058 w 2074"/>
              <a:gd name="T27" fmla="*/ 1227 h 2282"/>
              <a:gd name="T28" fmla="*/ 2040 w 2074"/>
              <a:gd name="T29" fmla="*/ 1269 h 2282"/>
              <a:gd name="T30" fmla="*/ 1529 w 2074"/>
              <a:gd name="T31" fmla="*/ 2152 h 2282"/>
              <a:gd name="T32" fmla="*/ 1503 w 2074"/>
              <a:gd name="T33" fmla="*/ 2189 h 2282"/>
              <a:gd name="T34" fmla="*/ 1471 w 2074"/>
              <a:gd name="T35" fmla="*/ 2221 h 2282"/>
              <a:gd name="T36" fmla="*/ 1434 w 2074"/>
              <a:gd name="T37" fmla="*/ 2247 h 2282"/>
              <a:gd name="T38" fmla="*/ 1394 w 2074"/>
              <a:gd name="T39" fmla="*/ 2265 h 2282"/>
              <a:gd name="T40" fmla="*/ 1350 w 2074"/>
              <a:gd name="T41" fmla="*/ 2277 h 2282"/>
              <a:gd name="T42" fmla="*/ 1306 w 2074"/>
              <a:gd name="T43" fmla="*/ 2282 h 2282"/>
              <a:gd name="T44" fmla="*/ 283 w 2074"/>
              <a:gd name="T45" fmla="*/ 2282 h 2282"/>
              <a:gd name="T46" fmla="*/ 238 w 2074"/>
              <a:gd name="T47" fmla="*/ 2277 h 2282"/>
              <a:gd name="T48" fmla="*/ 194 w 2074"/>
              <a:gd name="T49" fmla="*/ 2265 h 2282"/>
              <a:gd name="T50" fmla="*/ 154 w 2074"/>
              <a:gd name="T51" fmla="*/ 2247 h 2282"/>
              <a:gd name="T52" fmla="*/ 118 w 2074"/>
              <a:gd name="T53" fmla="*/ 2221 h 2282"/>
              <a:gd name="T54" fmla="*/ 86 w 2074"/>
              <a:gd name="T55" fmla="*/ 2189 h 2282"/>
              <a:gd name="T56" fmla="*/ 59 w 2074"/>
              <a:gd name="T57" fmla="*/ 2152 h 2282"/>
              <a:gd name="T58" fmla="*/ 0 w 2074"/>
              <a:gd name="T59" fmla="*/ 2049 h 2282"/>
              <a:gd name="T60" fmla="*/ 800 w 2074"/>
              <a:gd name="T61" fmla="*/ 2049 h 2282"/>
              <a:gd name="T62" fmla="*/ 844 w 2074"/>
              <a:gd name="T63" fmla="*/ 2044 h 2282"/>
              <a:gd name="T64" fmla="*/ 884 w 2074"/>
              <a:gd name="T65" fmla="*/ 2031 h 2282"/>
              <a:gd name="T66" fmla="*/ 921 w 2074"/>
              <a:gd name="T67" fmla="*/ 2010 h 2282"/>
              <a:gd name="T68" fmla="*/ 953 w 2074"/>
              <a:gd name="T69" fmla="*/ 1982 h 2282"/>
              <a:gd name="T70" fmla="*/ 979 w 2074"/>
              <a:gd name="T71" fmla="*/ 1946 h 2282"/>
              <a:gd name="T72" fmla="*/ 1385 w 2074"/>
              <a:gd name="T73" fmla="*/ 1242 h 2282"/>
              <a:gd name="T74" fmla="*/ 1402 w 2074"/>
              <a:gd name="T75" fmla="*/ 1204 h 2282"/>
              <a:gd name="T76" fmla="*/ 1411 w 2074"/>
              <a:gd name="T77" fmla="*/ 1161 h 2282"/>
              <a:gd name="T78" fmla="*/ 1411 w 2074"/>
              <a:gd name="T79" fmla="*/ 1118 h 2282"/>
              <a:gd name="T80" fmla="*/ 1402 w 2074"/>
              <a:gd name="T81" fmla="*/ 1077 h 2282"/>
              <a:gd name="T82" fmla="*/ 1385 w 2074"/>
              <a:gd name="T83" fmla="*/ 1037 h 2282"/>
              <a:gd name="T84" fmla="*/ 979 w 2074"/>
              <a:gd name="T85" fmla="*/ 334 h 2282"/>
              <a:gd name="T86" fmla="*/ 958 w 2074"/>
              <a:gd name="T87" fmla="*/ 306 h 2282"/>
              <a:gd name="T88" fmla="*/ 933 w 2074"/>
              <a:gd name="T89" fmla="*/ 280 h 2282"/>
              <a:gd name="T90" fmla="*/ 903 w 2074"/>
              <a:gd name="T91" fmla="*/ 260 h 2282"/>
              <a:gd name="T92" fmla="*/ 871 w 2074"/>
              <a:gd name="T93" fmla="*/ 245 h 2282"/>
              <a:gd name="T94" fmla="*/ 837 w 2074"/>
              <a:gd name="T95" fmla="*/ 237 h 2282"/>
              <a:gd name="T96" fmla="*/ 800 w 2074"/>
              <a:gd name="T97" fmla="*/ 233 h 2282"/>
              <a:gd name="T98" fmla="*/ 0 w 2074"/>
              <a:gd name="T99" fmla="*/ 233 h 2282"/>
              <a:gd name="T100" fmla="*/ 59 w 2074"/>
              <a:gd name="T101" fmla="*/ 130 h 2282"/>
              <a:gd name="T102" fmla="*/ 86 w 2074"/>
              <a:gd name="T103" fmla="*/ 93 h 2282"/>
              <a:gd name="T104" fmla="*/ 118 w 2074"/>
              <a:gd name="T105" fmla="*/ 61 h 2282"/>
              <a:gd name="T106" fmla="*/ 154 w 2074"/>
              <a:gd name="T107" fmla="*/ 36 h 2282"/>
              <a:gd name="T108" fmla="*/ 194 w 2074"/>
              <a:gd name="T109" fmla="*/ 17 h 2282"/>
              <a:gd name="T110" fmla="*/ 238 w 2074"/>
              <a:gd name="T111" fmla="*/ 5 h 2282"/>
              <a:gd name="T112" fmla="*/ 283 w 2074"/>
              <a:gd name="T113" fmla="*/ 0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74" h="2282">
                <a:moveTo>
                  <a:pt x="283" y="0"/>
                </a:moveTo>
                <a:lnTo>
                  <a:pt x="1306" y="0"/>
                </a:lnTo>
                <a:lnTo>
                  <a:pt x="1350" y="5"/>
                </a:lnTo>
                <a:lnTo>
                  <a:pt x="1394" y="17"/>
                </a:lnTo>
                <a:lnTo>
                  <a:pt x="1434" y="36"/>
                </a:lnTo>
                <a:lnTo>
                  <a:pt x="1471" y="61"/>
                </a:lnTo>
                <a:lnTo>
                  <a:pt x="1503" y="91"/>
                </a:lnTo>
                <a:lnTo>
                  <a:pt x="1529" y="129"/>
                </a:lnTo>
                <a:lnTo>
                  <a:pt x="2040" y="1010"/>
                </a:lnTo>
                <a:lnTo>
                  <a:pt x="2058" y="1052"/>
                </a:lnTo>
                <a:lnTo>
                  <a:pt x="2070" y="1096"/>
                </a:lnTo>
                <a:lnTo>
                  <a:pt x="2074" y="1139"/>
                </a:lnTo>
                <a:lnTo>
                  <a:pt x="2070" y="1185"/>
                </a:lnTo>
                <a:lnTo>
                  <a:pt x="2058" y="1227"/>
                </a:lnTo>
                <a:lnTo>
                  <a:pt x="2040" y="1269"/>
                </a:lnTo>
                <a:lnTo>
                  <a:pt x="1529" y="2152"/>
                </a:lnTo>
                <a:lnTo>
                  <a:pt x="1503" y="2189"/>
                </a:lnTo>
                <a:lnTo>
                  <a:pt x="1471" y="2221"/>
                </a:lnTo>
                <a:lnTo>
                  <a:pt x="1434" y="2247"/>
                </a:lnTo>
                <a:lnTo>
                  <a:pt x="1394" y="2265"/>
                </a:lnTo>
                <a:lnTo>
                  <a:pt x="1350" y="2277"/>
                </a:lnTo>
                <a:lnTo>
                  <a:pt x="1306" y="2282"/>
                </a:lnTo>
                <a:lnTo>
                  <a:pt x="283" y="2282"/>
                </a:lnTo>
                <a:lnTo>
                  <a:pt x="238" y="2277"/>
                </a:lnTo>
                <a:lnTo>
                  <a:pt x="194" y="2265"/>
                </a:lnTo>
                <a:lnTo>
                  <a:pt x="154" y="2247"/>
                </a:lnTo>
                <a:lnTo>
                  <a:pt x="118" y="2221"/>
                </a:lnTo>
                <a:lnTo>
                  <a:pt x="86" y="2189"/>
                </a:lnTo>
                <a:lnTo>
                  <a:pt x="59" y="2152"/>
                </a:lnTo>
                <a:lnTo>
                  <a:pt x="0" y="2049"/>
                </a:lnTo>
                <a:lnTo>
                  <a:pt x="800" y="2049"/>
                </a:lnTo>
                <a:lnTo>
                  <a:pt x="844" y="2044"/>
                </a:lnTo>
                <a:lnTo>
                  <a:pt x="884" y="2031"/>
                </a:lnTo>
                <a:lnTo>
                  <a:pt x="921" y="2010"/>
                </a:lnTo>
                <a:lnTo>
                  <a:pt x="953" y="1982"/>
                </a:lnTo>
                <a:lnTo>
                  <a:pt x="979" y="1946"/>
                </a:lnTo>
                <a:lnTo>
                  <a:pt x="1385" y="1242"/>
                </a:lnTo>
                <a:lnTo>
                  <a:pt x="1402" y="1204"/>
                </a:lnTo>
                <a:lnTo>
                  <a:pt x="1411" y="1161"/>
                </a:lnTo>
                <a:lnTo>
                  <a:pt x="1411" y="1118"/>
                </a:lnTo>
                <a:lnTo>
                  <a:pt x="1402" y="1077"/>
                </a:lnTo>
                <a:lnTo>
                  <a:pt x="1385" y="1037"/>
                </a:lnTo>
                <a:lnTo>
                  <a:pt x="979" y="334"/>
                </a:lnTo>
                <a:lnTo>
                  <a:pt x="958" y="306"/>
                </a:lnTo>
                <a:lnTo>
                  <a:pt x="933" y="280"/>
                </a:lnTo>
                <a:lnTo>
                  <a:pt x="903" y="260"/>
                </a:lnTo>
                <a:lnTo>
                  <a:pt x="871" y="245"/>
                </a:lnTo>
                <a:lnTo>
                  <a:pt x="837" y="237"/>
                </a:lnTo>
                <a:lnTo>
                  <a:pt x="800" y="233"/>
                </a:lnTo>
                <a:lnTo>
                  <a:pt x="0" y="233"/>
                </a:lnTo>
                <a:lnTo>
                  <a:pt x="59" y="130"/>
                </a:lnTo>
                <a:lnTo>
                  <a:pt x="86" y="93"/>
                </a:lnTo>
                <a:lnTo>
                  <a:pt x="118" y="61"/>
                </a:lnTo>
                <a:lnTo>
                  <a:pt x="154" y="36"/>
                </a:lnTo>
                <a:lnTo>
                  <a:pt x="194" y="17"/>
                </a:lnTo>
                <a:lnTo>
                  <a:pt x="238" y="5"/>
                </a:lnTo>
                <a:lnTo>
                  <a:pt x="283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85" name="矩形 84"/>
          <p:cNvSpPr/>
          <p:nvPr>
            <p:custDataLst>
              <p:tags r:id="rId9"/>
            </p:custDataLst>
          </p:nvPr>
        </p:nvSpPr>
        <p:spPr bwMode="auto">
          <a:xfrm>
            <a:off x="4347264" y="3520177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86" name="文本框 85"/>
          <p:cNvSpPr txBox="1"/>
          <p:nvPr>
            <p:custDataLst>
              <p:tags r:id="rId10"/>
            </p:custDataLst>
          </p:nvPr>
        </p:nvSpPr>
        <p:spPr bwMode="auto">
          <a:xfrm>
            <a:off x="4347264" y="2871893"/>
            <a:ext cx="2039484" cy="5492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87" name="矩形 86"/>
          <p:cNvSpPr/>
          <p:nvPr>
            <p:custDataLst>
              <p:tags r:id="rId11"/>
            </p:custDataLst>
          </p:nvPr>
        </p:nvSpPr>
        <p:spPr bwMode="auto">
          <a:xfrm>
            <a:off x="4347264" y="4199915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cxnSp>
        <p:nvCxnSpPr>
          <p:cNvPr id="88" name="直接连接符 87"/>
          <p:cNvCxnSpPr/>
          <p:nvPr>
            <p:custDataLst>
              <p:tags r:id="rId12"/>
            </p:custDataLst>
          </p:nvPr>
        </p:nvCxnSpPr>
        <p:spPr>
          <a:xfrm>
            <a:off x="4347264" y="4170128"/>
            <a:ext cx="2039484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任意多边形: 形状 76"/>
          <p:cNvSpPr/>
          <p:nvPr>
            <p:custDataLst>
              <p:tags r:id="rId13"/>
            </p:custDataLst>
          </p:nvPr>
        </p:nvSpPr>
        <p:spPr bwMode="auto">
          <a:xfrm>
            <a:off x="8026191" y="1716182"/>
            <a:ext cx="3494296" cy="3844736"/>
          </a:xfrm>
          <a:custGeom>
            <a:avLst/>
            <a:gdLst>
              <a:gd name="T0" fmla="*/ 283 w 2074"/>
              <a:gd name="T1" fmla="*/ 0 h 2282"/>
              <a:gd name="T2" fmla="*/ 1306 w 2074"/>
              <a:gd name="T3" fmla="*/ 0 h 2282"/>
              <a:gd name="T4" fmla="*/ 1350 w 2074"/>
              <a:gd name="T5" fmla="*/ 5 h 2282"/>
              <a:gd name="T6" fmla="*/ 1394 w 2074"/>
              <a:gd name="T7" fmla="*/ 17 h 2282"/>
              <a:gd name="T8" fmla="*/ 1434 w 2074"/>
              <a:gd name="T9" fmla="*/ 36 h 2282"/>
              <a:gd name="T10" fmla="*/ 1471 w 2074"/>
              <a:gd name="T11" fmla="*/ 61 h 2282"/>
              <a:gd name="T12" fmla="*/ 1503 w 2074"/>
              <a:gd name="T13" fmla="*/ 91 h 2282"/>
              <a:gd name="T14" fmla="*/ 1529 w 2074"/>
              <a:gd name="T15" fmla="*/ 129 h 2282"/>
              <a:gd name="T16" fmla="*/ 2040 w 2074"/>
              <a:gd name="T17" fmla="*/ 1010 h 2282"/>
              <a:gd name="T18" fmla="*/ 2058 w 2074"/>
              <a:gd name="T19" fmla="*/ 1052 h 2282"/>
              <a:gd name="T20" fmla="*/ 2070 w 2074"/>
              <a:gd name="T21" fmla="*/ 1096 h 2282"/>
              <a:gd name="T22" fmla="*/ 2074 w 2074"/>
              <a:gd name="T23" fmla="*/ 1139 h 2282"/>
              <a:gd name="T24" fmla="*/ 2070 w 2074"/>
              <a:gd name="T25" fmla="*/ 1185 h 2282"/>
              <a:gd name="T26" fmla="*/ 2058 w 2074"/>
              <a:gd name="T27" fmla="*/ 1227 h 2282"/>
              <a:gd name="T28" fmla="*/ 2040 w 2074"/>
              <a:gd name="T29" fmla="*/ 1269 h 2282"/>
              <a:gd name="T30" fmla="*/ 1529 w 2074"/>
              <a:gd name="T31" fmla="*/ 2152 h 2282"/>
              <a:gd name="T32" fmla="*/ 1503 w 2074"/>
              <a:gd name="T33" fmla="*/ 2189 h 2282"/>
              <a:gd name="T34" fmla="*/ 1471 w 2074"/>
              <a:gd name="T35" fmla="*/ 2221 h 2282"/>
              <a:gd name="T36" fmla="*/ 1434 w 2074"/>
              <a:gd name="T37" fmla="*/ 2247 h 2282"/>
              <a:gd name="T38" fmla="*/ 1394 w 2074"/>
              <a:gd name="T39" fmla="*/ 2265 h 2282"/>
              <a:gd name="T40" fmla="*/ 1350 w 2074"/>
              <a:gd name="T41" fmla="*/ 2277 h 2282"/>
              <a:gd name="T42" fmla="*/ 1306 w 2074"/>
              <a:gd name="T43" fmla="*/ 2282 h 2282"/>
              <a:gd name="T44" fmla="*/ 283 w 2074"/>
              <a:gd name="T45" fmla="*/ 2282 h 2282"/>
              <a:gd name="T46" fmla="*/ 238 w 2074"/>
              <a:gd name="T47" fmla="*/ 2277 h 2282"/>
              <a:gd name="T48" fmla="*/ 194 w 2074"/>
              <a:gd name="T49" fmla="*/ 2265 h 2282"/>
              <a:gd name="T50" fmla="*/ 154 w 2074"/>
              <a:gd name="T51" fmla="*/ 2247 h 2282"/>
              <a:gd name="T52" fmla="*/ 118 w 2074"/>
              <a:gd name="T53" fmla="*/ 2221 h 2282"/>
              <a:gd name="T54" fmla="*/ 86 w 2074"/>
              <a:gd name="T55" fmla="*/ 2189 h 2282"/>
              <a:gd name="T56" fmla="*/ 59 w 2074"/>
              <a:gd name="T57" fmla="*/ 2152 h 2282"/>
              <a:gd name="T58" fmla="*/ 0 w 2074"/>
              <a:gd name="T59" fmla="*/ 2049 h 2282"/>
              <a:gd name="T60" fmla="*/ 800 w 2074"/>
              <a:gd name="T61" fmla="*/ 2049 h 2282"/>
              <a:gd name="T62" fmla="*/ 844 w 2074"/>
              <a:gd name="T63" fmla="*/ 2044 h 2282"/>
              <a:gd name="T64" fmla="*/ 884 w 2074"/>
              <a:gd name="T65" fmla="*/ 2031 h 2282"/>
              <a:gd name="T66" fmla="*/ 921 w 2074"/>
              <a:gd name="T67" fmla="*/ 2010 h 2282"/>
              <a:gd name="T68" fmla="*/ 953 w 2074"/>
              <a:gd name="T69" fmla="*/ 1982 h 2282"/>
              <a:gd name="T70" fmla="*/ 979 w 2074"/>
              <a:gd name="T71" fmla="*/ 1946 h 2282"/>
              <a:gd name="T72" fmla="*/ 1385 w 2074"/>
              <a:gd name="T73" fmla="*/ 1242 h 2282"/>
              <a:gd name="T74" fmla="*/ 1402 w 2074"/>
              <a:gd name="T75" fmla="*/ 1204 h 2282"/>
              <a:gd name="T76" fmla="*/ 1411 w 2074"/>
              <a:gd name="T77" fmla="*/ 1161 h 2282"/>
              <a:gd name="T78" fmla="*/ 1411 w 2074"/>
              <a:gd name="T79" fmla="*/ 1118 h 2282"/>
              <a:gd name="T80" fmla="*/ 1402 w 2074"/>
              <a:gd name="T81" fmla="*/ 1077 h 2282"/>
              <a:gd name="T82" fmla="*/ 1385 w 2074"/>
              <a:gd name="T83" fmla="*/ 1037 h 2282"/>
              <a:gd name="T84" fmla="*/ 979 w 2074"/>
              <a:gd name="T85" fmla="*/ 334 h 2282"/>
              <a:gd name="T86" fmla="*/ 958 w 2074"/>
              <a:gd name="T87" fmla="*/ 306 h 2282"/>
              <a:gd name="T88" fmla="*/ 933 w 2074"/>
              <a:gd name="T89" fmla="*/ 280 h 2282"/>
              <a:gd name="T90" fmla="*/ 903 w 2074"/>
              <a:gd name="T91" fmla="*/ 260 h 2282"/>
              <a:gd name="T92" fmla="*/ 871 w 2074"/>
              <a:gd name="T93" fmla="*/ 245 h 2282"/>
              <a:gd name="T94" fmla="*/ 837 w 2074"/>
              <a:gd name="T95" fmla="*/ 237 h 2282"/>
              <a:gd name="T96" fmla="*/ 800 w 2074"/>
              <a:gd name="T97" fmla="*/ 233 h 2282"/>
              <a:gd name="T98" fmla="*/ 0 w 2074"/>
              <a:gd name="T99" fmla="*/ 233 h 2282"/>
              <a:gd name="T100" fmla="*/ 59 w 2074"/>
              <a:gd name="T101" fmla="*/ 130 h 2282"/>
              <a:gd name="T102" fmla="*/ 86 w 2074"/>
              <a:gd name="T103" fmla="*/ 93 h 2282"/>
              <a:gd name="T104" fmla="*/ 118 w 2074"/>
              <a:gd name="T105" fmla="*/ 61 h 2282"/>
              <a:gd name="T106" fmla="*/ 154 w 2074"/>
              <a:gd name="T107" fmla="*/ 36 h 2282"/>
              <a:gd name="T108" fmla="*/ 194 w 2074"/>
              <a:gd name="T109" fmla="*/ 17 h 2282"/>
              <a:gd name="T110" fmla="*/ 238 w 2074"/>
              <a:gd name="T111" fmla="*/ 5 h 2282"/>
              <a:gd name="T112" fmla="*/ 283 w 2074"/>
              <a:gd name="T113" fmla="*/ 0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74" h="2282">
                <a:moveTo>
                  <a:pt x="283" y="0"/>
                </a:moveTo>
                <a:lnTo>
                  <a:pt x="1306" y="0"/>
                </a:lnTo>
                <a:lnTo>
                  <a:pt x="1350" y="5"/>
                </a:lnTo>
                <a:lnTo>
                  <a:pt x="1394" y="17"/>
                </a:lnTo>
                <a:lnTo>
                  <a:pt x="1434" y="36"/>
                </a:lnTo>
                <a:lnTo>
                  <a:pt x="1471" y="61"/>
                </a:lnTo>
                <a:lnTo>
                  <a:pt x="1503" y="91"/>
                </a:lnTo>
                <a:lnTo>
                  <a:pt x="1529" y="129"/>
                </a:lnTo>
                <a:lnTo>
                  <a:pt x="2040" y="1010"/>
                </a:lnTo>
                <a:lnTo>
                  <a:pt x="2058" y="1052"/>
                </a:lnTo>
                <a:lnTo>
                  <a:pt x="2070" y="1096"/>
                </a:lnTo>
                <a:lnTo>
                  <a:pt x="2074" y="1139"/>
                </a:lnTo>
                <a:lnTo>
                  <a:pt x="2070" y="1185"/>
                </a:lnTo>
                <a:lnTo>
                  <a:pt x="2058" y="1227"/>
                </a:lnTo>
                <a:lnTo>
                  <a:pt x="2040" y="1269"/>
                </a:lnTo>
                <a:lnTo>
                  <a:pt x="1529" y="2152"/>
                </a:lnTo>
                <a:lnTo>
                  <a:pt x="1503" y="2189"/>
                </a:lnTo>
                <a:lnTo>
                  <a:pt x="1471" y="2221"/>
                </a:lnTo>
                <a:lnTo>
                  <a:pt x="1434" y="2247"/>
                </a:lnTo>
                <a:lnTo>
                  <a:pt x="1394" y="2265"/>
                </a:lnTo>
                <a:lnTo>
                  <a:pt x="1350" y="2277"/>
                </a:lnTo>
                <a:lnTo>
                  <a:pt x="1306" y="2282"/>
                </a:lnTo>
                <a:lnTo>
                  <a:pt x="283" y="2282"/>
                </a:lnTo>
                <a:lnTo>
                  <a:pt x="238" y="2277"/>
                </a:lnTo>
                <a:lnTo>
                  <a:pt x="194" y="2265"/>
                </a:lnTo>
                <a:lnTo>
                  <a:pt x="154" y="2247"/>
                </a:lnTo>
                <a:lnTo>
                  <a:pt x="118" y="2221"/>
                </a:lnTo>
                <a:lnTo>
                  <a:pt x="86" y="2189"/>
                </a:lnTo>
                <a:lnTo>
                  <a:pt x="59" y="2152"/>
                </a:lnTo>
                <a:lnTo>
                  <a:pt x="0" y="2049"/>
                </a:lnTo>
                <a:lnTo>
                  <a:pt x="800" y="2049"/>
                </a:lnTo>
                <a:lnTo>
                  <a:pt x="844" y="2044"/>
                </a:lnTo>
                <a:lnTo>
                  <a:pt x="884" y="2031"/>
                </a:lnTo>
                <a:lnTo>
                  <a:pt x="921" y="2010"/>
                </a:lnTo>
                <a:lnTo>
                  <a:pt x="953" y="1982"/>
                </a:lnTo>
                <a:lnTo>
                  <a:pt x="979" y="1946"/>
                </a:lnTo>
                <a:lnTo>
                  <a:pt x="1385" y="1242"/>
                </a:lnTo>
                <a:lnTo>
                  <a:pt x="1402" y="1204"/>
                </a:lnTo>
                <a:lnTo>
                  <a:pt x="1411" y="1161"/>
                </a:lnTo>
                <a:lnTo>
                  <a:pt x="1411" y="1118"/>
                </a:lnTo>
                <a:lnTo>
                  <a:pt x="1402" y="1077"/>
                </a:lnTo>
                <a:lnTo>
                  <a:pt x="1385" y="1037"/>
                </a:lnTo>
                <a:lnTo>
                  <a:pt x="979" y="334"/>
                </a:lnTo>
                <a:lnTo>
                  <a:pt x="958" y="306"/>
                </a:lnTo>
                <a:lnTo>
                  <a:pt x="933" y="280"/>
                </a:lnTo>
                <a:lnTo>
                  <a:pt x="903" y="260"/>
                </a:lnTo>
                <a:lnTo>
                  <a:pt x="871" y="245"/>
                </a:lnTo>
                <a:lnTo>
                  <a:pt x="837" y="237"/>
                </a:lnTo>
                <a:lnTo>
                  <a:pt x="800" y="233"/>
                </a:lnTo>
                <a:lnTo>
                  <a:pt x="0" y="233"/>
                </a:lnTo>
                <a:lnTo>
                  <a:pt x="59" y="130"/>
                </a:lnTo>
                <a:lnTo>
                  <a:pt x="86" y="93"/>
                </a:lnTo>
                <a:lnTo>
                  <a:pt x="118" y="61"/>
                </a:lnTo>
                <a:lnTo>
                  <a:pt x="154" y="36"/>
                </a:lnTo>
                <a:lnTo>
                  <a:pt x="194" y="17"/>
                </a:lnTo>
                <a:lnTo>
                  <a:pt x="238" y="5"/>
                </a:lnTo>
                <a:lnTo>
                  <a:pt x="283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81" name="矩形 80"/>
          <p:cNvSpPr/>
          <p:nvPr>
            <p:custDataLst>
              <p:tags r:id="rId14"/>
            </p:custDataLst>
          </p:nvPr>
        </p:nvSpPr>
        <p:spPr bwMode="auto">
          <a:xfrm>
            <a:off x="8023016" y="3520177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82" name="文本框 81"/>
          <p:cNvSpPr txBox="1"/>
          <p:nvPr>
            <p:custDataLst>
              <p:tags r:id="rId15"/>
            </p:custDataLst>
          </p:nvPr>
        </p:nvSpPr>
        <p:spPr bwMode="auto">
          <a:xfrm>
            <a:off x="8023016" y="2871893"/>
            <a:ext cx="2039484" cy="5492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83" name="矩形 82"/>
          <p:cNvSpPr/>
          <p:nvPr>
            <p:custDataLst>
              <p:tags r:id="rId16"/>
            </p:custDataLst>
          </p:nvPr>
        </p:nvSpPr>
        <p:spPr bwMode="auto">
          <a:xfrm>
            <a:off x="8023016" y="4199915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cxnSp>
        <p:nvCxnSpPr>
          <p:cNvPr id="84" name="直接连接符 83"/>
          <p:cNvCxnSpPr/>
          <p:nvPr>
            <p:custDataLst>
              <p:tags r:id="rId17"/>
            </p:custDataLst>
          </p:nvPr>
        </p:nvCxnSpPr>
        <p:spPr>
          <a:xfrm>
            <a:off x="8023016" y="4170128"/>
            <a:ext cx="2039484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任意多边形: 形状 78"/>
          <p:cNvSpPr/>
          <p:nvPr>
            <p:custDataLst>
              <p:tags r:id="rId18"/>
            </p:custDataLst>
          </p:nvPr>
        </p:nvSpPr>
        <p:spPr>
          <a:xfrm>
            <a:off x="775908" y="2317597"/>
            <a:ext cx="504626" cy="495615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lt1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80" name="任意多边形: 形状 79"/>
          <p:cNvSpPr/>
          <p:nvPr>
            <p:custDataLst>
              <p:tags r:id="rId19"/>
            </p:custDataLst>
          </p:nvPr>
        </p:nvSpPr>
        <p:spPr>
          <a:xfrm>
            <a:off x="4496715" y="2313092"/>
            <a:ext cx="414514" cy="504626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rgbClr val="215B9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文本框 98"/>
          <p:cNvSpPr txBox="1"/>
          <p:nvPr>
            <p:custDataLst>
              <p:tags r:id="rId2"/>
            </p:custDataLst>
          </p:nvPr>
        </p:nvSpPr>
        <p:spPr>
          <a:xfrm flipH="1">
            <a:off x="1559377" y="5059426"/>
            <a:ext cx="2484972" cy="62676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00" name="矩形 99"/>
          <p:cNvSpPr/>
          <p:nvPr>
            <p:custDataLst>
              <p:tags r:id="rId3"/>
            </p:custDataLst>
          </p:nvPr>
        </p:nvSpPr>
        <p:spPr>
          <a:xfrm flipH="1">
            <a:off x="1559378" y="4612338"/>
            <a:ext cx="2484972" cy="447087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97" name="矩形: 圆角 96"/>
          <p:cNvSpPr/>
          <p:nvPr>
            <p:custDataLst>
              <p:tags r:id="rId4"/>
            </p:custDataLst>
          </p:nvPr>
        </p:nvSpPr>
        <p:spPr>
          <a:xfrm>
            <a:off x="2382763" y="3670273"/>
            <a:ext cx="838200" cy="838200"/>
          </a:xfrm>
          <a:prstGeom prst="roundRect">
            <a:avLst/>
          </a:prstGeom>
          <a:solidFill>
            <a:schemeClr val="lt1">
              <a:lumMod val="75000"/>
            </a:schemeClr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98" name="任意多边形: 形状 97"/>
          <p:cNvSpPr/>
          <p:nvPr>
            <p:custDataLst>
              <p:tags r:id="rId5"/>
            </p:custDataLst>
          </p:nvPr>
        </p:nvSpPr>
        <p:spPr>
          <a:xfrm>
            <a:off x="2497063" y="3811787"/>
            <a:ext cx="609600" cy="555171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95" name="文本框 94"/>
          <p:cNvSpPr txBox="1"/>
          <p:nvPr>
            <p:custDataLst>
              <p:tags r:id="rId6"/>
            </p:custDataLst>
          </p:nvPr>
        </p:nvSpPr>
        <p:spPr>
          <a:xfrm flipH="1">
            <a:off x="4853514" y="5059426"/>
            <a:ext cx="2484972" cy="62676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96" name="矩形 95"/>
          <p:cNvSpPr/>
          <p:nvPr>
            <p:custDataLst>
              <p:tags r:id="rId7"/>
            </p:custDataLst>
          </p:nvPr>
        </p:nvSpPr>
        <p:spPr>
          <a:xfrm flipH="1">
            <a:off x="4853515" y="4612338"/>
            <a:ext cx="2484972" cy="447087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93" name="矩形: 圆角 92"/>
          <p:cNvSpPr/>
          <p:nvPr>
            <p:custDataLst>
              <p:tags r:id="rId8"/>
            </p:custDataLst>
          </p:nvPr>
        </p:nvSpPr>
        <p:spPr>
          <a:xfrm>
            <a:off x="5676900" y="3670273"/>
            <a:ext cx="838200" cy="838200"/>
          </a:xfrm>
          <a:prstGeom prst="roundRect">
            <a:avLst/>
          </a:prstGeom>
          <a:solidFill>
            <a:srgbClr val="215B93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94" name="任意多边形: 形状 93"/>
          <p:cNvSpPr/>
          <p:nvPr>
            <p:custDataLst>
              <p:tags r:id="rId9"/>
            </p:custDataLst>
          </p:nvPr>
        </p:nvSpPr>
        <p:spPr>
          <a:xfrm>
            <a:off x="5791200" y="3846661"/>
            <a:ext cx="609600" cy="48542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91" name="文本框 90"/>
          <p:cNvSpPr txBox="1"/>
          <p:nvPr>
            <p:custDataLst>
              <p:tags r:id="rId10"/>
            </p:custDataLst>
          </p:nvPr>
        </p:nvSpPr>
        <p:spPr>
          <a:xfrm flipH="1">
            <a:off x="8147650" y="5059426"/>
            <a:ext cx="2484972" cy="62676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92" name="矩形 91"/>
          <p:cNvSpPr/>
          <p:nvPr>
            <p:custDataLst>
              <p:tags r:id="rId11"/>
            </p:custDataLst>
          </p:nvPr>
        </p:nvSpPr>
        <p:spPr>
          <a:xfrm flipH="1">
            <a:off x="8147651" y="4612338"/>
            <a:ext cx="2484972" cy="447087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89" name="矩形: 圆角 88"/>
          <p:cNvSpPr/>
          <p:nvPr>
            <p:custDataLst>
              <p:tags r:id="rId12"/>
            </p:custDataLst>
          </p:nvPr>
        </p:nvSpPr>
        <p:spPr>
          <a:xfrm>
            <a:off x="8971036" y="3670273"/>
            <a:ext cx="838200" cy="838200"/>
          </a:xfrm>
          <a:prstGeom prst="roundRect">
            <a:avLst/>
          </a:prstGeom>
          <a:solidFill>
            <a:schemeClr val="lt1">
              <a:lumMod val="75000"/>
            </a:schemeClr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90" name="任意多边形: 形状 89"/>
          <p:cNvSpPr/>
          <p:nvPr>
            <p:custDataLst>
              <p:tags r:id="rId13"/>
            </p:custDataLst>
          </p:nvPr>
        </p:nvSpPr>
        <p:spPr>
          <a:xfrm>
            <a:off x="9106696" y="3784572"/>
            <a:ext cx="566879" cy="609600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2"/>
          </a:soli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000" b="1" i="1">
              <a:solidFill>
                <a:schemeClr val="dk1"/>
              </a:solidFill>
              <a:cs typeface="+mn-ea"/>
              <a:sym typeface="+mn-lt"/>
            </a:endParaRPr>
          </a:p>
        </p:txBody>
      </p:sp>
      <p:cxnSp>
        <p:nvCxnSpPr>
          <p:cNvPr id="84" name="直接连接符 83"/>
          <p:cNvCxnSpPr/>
          <p:nvPr>
            <p:custDataLst>
              <p:tags r:id="rId14"/>
            </p:custDataLst>
          </p:nvPr>
        </p:nvCxnSpPr>
        <p:spPr>
          <a:xfrm>
            <a:off x="4448932" y="3242538"/>
            <a:ext cx="0" cy="2871387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连接符 84"/>
          <p:cNvCxnSpPr/>
          <p:nvPr>
            <p:custDataLst>
              <p:tags r:id="rId15"/>
            </p:custDataLst>
          </p:nvPr>
        </p:nvCxnSpPr>
        <p:spPr>
          <a:xfrm>
            <a:off x="7743069" y="3242538"/>
            <a:ext cx="0" cy="2871387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矩形 85"/>
          <p:cNvSpPr/>
          <p:nvPr>
            <p:custDataLst>
              <p:tags r:id="rId16"/>
            </p:custDataLst>
          </p:nvPr>
        </p:nvSpPr>
        <p:spPr>
          <a:xfrm>
            <a:off x="0" y="0"/>
            <a:ext cx="12192000" cy="2961786"/>
          </a:xfrm>
          <a:prstGeom prst="rect">
            <a:avLst/>
          </a:prstGeom>
          <a:blipFill rotWithShape="1">
            <a:blip r:embed="rId19"/>
            <a:srcRect/>
            <a:stretch>
              <a:fillRect t="-101686" b="-10168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88" name="矩形 87"/>
          <p:cNvSpPr/>
          <p:nvPr>
            <p:custDataLst>
              <p:tags r:id="rId17"/>
            </p:custDataLst>
          </p:nvPr>
        </p:nvSpPr>
        <p:spPr>
          <a:xfrm>
            <a:off x="0" y="2504762"/>
            <a:ext cx="12192000" cy="457024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i="1" dirty="0">
                <a:solidFill>
                  <a:srgbClr val="FFFFFF"/>
                </a:solidFill>
                <a:cs typeface="+mn-ea"/>
                <a:sym typeface="+mn-lt"/>
              </a:rPr>
              <a:t>Unified fonts make reading more fluent.</a:t>
            </a:r>
          </a:p>
        </p:txBody>
      </p:sp>
    </p:spTree>
    <p:custDataLst>
      <p:tags r:id="rId1"/>
    </p:custData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>
            <p:custDataLst>
              <p:tags r:id="rId4"/>
            </p:custDataLst>
          </p:nvPr>
        </p:nvSpPr>
        <p:spPr>
          <a:xfrm>
            <a:off x="1310005" y="2324100"/>
            <a:ext cx="9571990" cy="1045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ank you for listening.</a:t>
            </a:r>
          </a:p>
        </p:txBody>
      </p:sp>
      <p:sp>
        <p:nvSpPr>
          <p:cNvPr id="8" name="文本框 7"/>
          <p:cNvSpPr txBox="1"/>
          <p:nvPr>
            <p:custDataLst>
              <p:tags r:id="rId5"/>
            </p:custDataLst>
          </p:nvPr>
        </p:nvSpPr>
        <p:spPr>
          <a:xfrm>
            <a:off x="2506345" y="5172075"/>
            <a:ext cx="7179310" cy="4603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rgbClr val="2C7AC4"/>
                </a:solidFill>
              </a:rPr>
              <a:t>主講人：</a:t>
            </a:r>
            <a:r>
              <a:rPr lang="en-US" altLang="zh-CN" sz="2400" dirty="0">
                <a:solidFill>
                  <a:srgbClr val="2C7AC4"/>
                </a:solidFill>
              </a:rPr>
              <a:t>xxx     </a:t>
            </a:r>
            <a:r>
              <a:rPr lang="zh-CN" altLang="en-US" sz="2400" dirty="0">
                <a:solidFill>
                  <a:srgbClr val="2C7AC4"/>
                </a:solidFill>
              </a:rPr>
              <a:t>學院：</a:t>
            </a:r>
            <a:r>
              <a:rPr lang="en-US" altLang="zh-CN" sz="2400" dirty="0">
                <a:solidFill>
                  <a:srgbClr val="2C7AC4"/>
                </a:solidFill>
              </a:rPr>
              <a:t>xxx     </a:t>
            </a:r>
            <a:r>
              <a:rPr lang="zh-CN" altLang="en-US" sz="2400" dirty="0">
                <a:solidFill>
                  <a:srgbClr val="2C7AC4"/>
                </a:solidFill>
              </a:rPr>
              <a:t>日期：</a:t>
            </a:r>
            <a:r>
              <a:rPr lang="en-US" altLang="zh-CN" sz="2400" dirty="0">
                <a:solidFill>
                  <a:srgbClr val="2C7AC4"/>
                </a:solidFill>
              </a:rPr>
              <a:t>2023.XX.XX.</a:t>
            </a:r>
          </a:p>
        </p:txBody>
      </p:sp>
    </p:spTree>
    <p:custDataLst>
      <p:tags r:id="rId1"/>
    </p:custData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234141" y="3660859"/>
            <a:ext cx="8456798" cy="507509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 altLang="zh-CN" sz="3200" b="1" dirty="0">
                <a:solidFill>
                  <a:schemeClr val="bg1"/>
                </a:solidFill>
                <a:cs typeface="+mn-ea"/>
                <a:sym typeface="+mn-lt"/>
              </a:rPr>
              <a:t>Research Background and Significance</a:t>
            </a:r>
          </a:p>
        </p:txBody>
      </p:sp>
      <p:sp>
        <p:nvSpPr>
          <p:cNvPr id="9" name="文本框 8"/>
          <p:cNvSpPr txBox="1"/>
          <p:nvPr>
            <p:custDataLst>
              <p:tags r:id="rId1"/>
            </p:custDataLst>
          </p:nvPr>
        </p:nvSpPr>
        <p:spPr>
          <a:xfrm>
            <a:off x="990884" y="3507599"/>
            <a:ext cx="901523" cy="81403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</a:p>
        </p:txBody>
      </p:sp>
      <p:pic>
        <p:nvPicPr>
          <p:cNvPr id="4" name="图片 3" descr="D:\01啊菜\02珠澳学姐\珠澳学姐澳门四校图片\澳科大照片\DSC09086.jpgDSC0908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6">
            <a:alphaModFix amt="69000"/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-635" y="0"/>
            <a:ext cx="12192635" cy="2875915"/>
          </a:xfrm>
          <a:prstGeom prst="rect">
            <a:avLst/>
          </a:prstGeom>
        </p:spPr>
      </p:pic>
      <p:sp>
        <p:nvSpPr>
          <p:cNvPr id="2" name="矩形 1"/>
          <p:cNvSpPr/>
          <p:nvPr userDrawn="1">
            <p:custDataLst>
              <p:tags r:id="rId3"/>
            </p:custDataLst>
          </p:nvPr>
        </p:nvSpPr>
        <p:spPr>
          <a:xfrm>
            <a:off x="0" y="2853161"/>
            <a:ext cx="1219200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: 形状 162">
            <a:extLst>
              <a:ext uri="{FF2B5EF4-FFF2-40B4-BE49-F238E27FC236}">
                <a16:creationId xmlns:a16="http://schemas.microsoft.com/office/drawing/2014/main" id="{A287E724-7906-1BCC-B8BC-1CB292C4474C}"/>
              </a:ext>
            </a:extLst>
          </p:cNvPr>
          <p:cNvSpPr>
            <a:spLocks noChangeAspect="1"/>
          </p:cNvSpPr>
          <p:nvPr/>
        </p:nvSpPr>
        <p:spPr bwMode="auto">
          <a:xfrm>
            <a:off x="2154548" y="3548879"/>
            <a:ext cx="901728" cy="768312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608E82E-754B-6498-2399-4EC418B08F0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H="1">
            <a:off x="990884" y="4457262"/>
            <a:ext cx="9999963" cy="0"/>
          </a:xfrm>
          <a:prstGeom prst="line">
            <a:avLst/>
          </a:prstGeom>
          <a:ln w="19050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EA1A8B-EE29-BADC-475E-82C093660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CD6B4D-BE12-06A9-1F89-BA26AEDAF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Research Background and Significance</a:t>
            </a:r>
            <a:endParaRPr lang="en-US" altLang="zh-CN" dirty="0">
              <a:solidFill>
                <a:schemeClr val="accent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709FB9D8-035A-B700-0FD0-7DA1264DD30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800000" flipV="1">
            <a:off x="5797619" y="2225365"/>
            <a:ext cx="1615151" cy="634794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0735BE7F-14C8-0A93-2BA6-82A09ABD621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5463362" flipV="1">
            <a:off x="6388386" y="3269811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11D7883D-83DC-A211-733C-75EDBDC23B0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9736638" flipH="1" flipV="1">
            <a:off x="4597718" y="2235970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FBE3FABB-B922-00BC-DD89-AE859CA9C04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1800000">
            <a:off x="4581833" y="4331167"/>
            <a:ext cx="1615151" cy="634794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76FC79C6-14B1-A5FA-0AAC-BB667706104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9736638">
            <a:off x="5781733" y="4320564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9D382AAC-4588-7556-C8D7-B97EF5641BC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5463362" flipH="1">
            <a:off x="3991066" y="3286722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E2B001FB-B507-C900-EE97-43FFB91F4CF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4371" y="1653447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B2E55313-007B-07EE-12A5-19EFCBB4141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189708" y="3105678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707D9B44-A804-4016-666A-2FC2EE2DC13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355592" y="4550410"/>
            <a:ext cx="972995" cy="97299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F0A6BDD6-8DE2-41DD-3789-ED6040695CA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829768" y="3116340"/>
            <a:ext cx="972995" cy="97299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28957F87-51B1-6B62-48E2-92129CA56DE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354498" y="1647846"/>
            <a:ext cx="972995" cy="97299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3FA7F549-68AC-1911-D451-2781995126A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661206" y="4580718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endParaRPr lang="en-US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77ABD1F-5BDF-E1E0-5C7B-C2EA70C17A8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007443" y="1989259"/>
            <a:ext cx="306850" cy="301370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EC3D5959-AD7F-A348-B3D9-BD65EDF38FB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687570" y="1994618"/>
            <a:ext cx="306850" cy="279452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6A44F974-C8E9-B672-203F-BC0F9DD310A5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173593" y="3449412"/>
            <a:ext cx="285346" cy="306850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6C94CE47-9E91-6328-17C2-D6A335CFA91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562558" y="3449412"/>
            <a:ext cx="227296" cy="306850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84B76FEE-E0E2-1733-C195-78EFED6B1A4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007444" y="4914736"/>
            <a:ext cx="306850" cy="244343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3F9E1B91-51F5-EDB6-1FCB-46D297D1FFA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701028" y="4883481"/>
            <a:ext cx="279933" cy="306850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6ED1125-7B96-6243-97E2-AE06B96CA40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15364" y="3244164"/>
            <a:ext cx="1761744" cy="71323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lvl="0" algn="ctr" defTabSz="914400">
              <a:spcBef>
                <a:spcPct val="0"/>
              </a:spcBef>
              <a:defRPr/>
            </a:pP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Biometrics</a:t>
            </a:r>
            <a:r>
              <a:rPr lang="en-US" altLang="zh-CN" b="1" u="sng" dirty="0">
                <a:solidFill>
                  <a:schemeClr val="dk1"/>
                </a:solidFill>
                <a:cs typeface="+mn-ea"/>
                <a:sym typeface="+mn-lt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chnology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FE779589-696C-989F-30B3-CABE6E673BD2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421140" y="1932336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The flat, circular membrane in the middle layer of the eyeball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01E620E6-DF39-81FF-1EE5-1EEAFCB78B1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7421140" y="1611342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iris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CA35F71D-7605-53E3-DA7F-9DA0A18A0A40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1946859" y="1932336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Refers to the unique physical characteristics of each person's handwriting.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46E66A21-66A9-455D-E61A-54A5CD73C0D9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946859" y="1611342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Handwritten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E0803E6-56FE-C53E-D923-61108A1B24CE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7421140" y="4932813"/>
            <a:ext cx="2724942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 fontScale="92500"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The face is composed of the five senses: eyes, ears, nose, mouth and cheeks, and is the most important image of the human body.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2F46BD4-2828-9624-2C87-284123B3C3C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7421140" y="4611819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Face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EBD259FB-0819-9105-B205-36D661B2FF99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1946859" y="4932813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Gait refers to the posture and behavior characteristics of a person when walking.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105F7A3-09D2-5DFE-9B4C-272C29E54CE3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1946859" y="4611819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Gait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0EA5A953-8679-0C0D-8608-E6FA42D3A7EA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1138668" y="3385200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It is a sound wave spectrum that carries speech information displayed by electroacoustic instruments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6CD58A34-A826-2E37-3A93-F936E8153FC0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1138668" y="3064206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Voiceprints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0CDAF366-2FA2-54C5-964C-EDA8AA76B845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475303" y="3385200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Fingerprints are the lines formed by the bumps on the skin at the end of human fingers.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3EDDB1B-129F-7574-42BD-F9FF9278C629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8475303" y="3064206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en-US" altLang="zh-CN" sz="1600" b="1" dirty="0">
                <a:solidFill>
                  <a:schemeClr val="dk1"/>
                </a:solidFill>
                <a:cs typeface="+mn-ea"/>
                <a:sym typeface="+mn-lt"/>
              </a:rPr>
              <a:t>Fingerpri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4261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994364" y="2981325"/>
            <a:ext cx="5419185" cy="895350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Section Header Here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1994363" y="3813818"/>
            <a:ext cx="5419185" cy="1015623"/>
          </a:xfrm>
        </p:spPr>
        <p:txBody>
          <a:bodyPr/>
          <a:lstStyle/>
          <a:p>
            <a:pPr lvl="0"/>
            <a:r>
              <a:rPr lang="en-US" altLang="zh-CN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dk1"/>
                </a:solidFill>
                <a:cs typeface="+mn-ea"/>
                <a:sym typeface="+mn-lt"/>
              </a:rPr>
              <a:t>When you copy &amp; paste, choose "keep text only" option.</a:t>
            </a:r>
          </a:p>
        </p:txBody>
      </p:sp>
      <p:sp>
        <p:nvSpPr>
          <p:cNvPr id="9" name="文本框 8"/>
          <p:cNvSpPr txBox="1"/>
          <p:nvPr>
            <p:custDataLst>
              <p:tags r:id="rId2"/>
            </p:custDataLst>
          </p:nvPr>
        </p:nvSpPr>
        <p:spPr>
          <a:xfrm>
            <a:off x="990884" y="3507599"/>
            <a:ext cx="901523" cy="81403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accent1"/>
                </a:solidFill>
                <a:cs typeface="+mn-ea"/>
                <a:sym typeface="+mn-lt"/>
              </a:rPr>
              <a:t>02</a:t>
            </a:r>
          </a:p>
        </p:txBody>
      </p:sp>
      <p:pic>
        <p:nvPicPr>
          <p:cNvPr id="4" name="图片 3" descr="D:\01啊菜\02珠澳学姐\珠澳学姐澳门四校图片\澳科大照片\DSC09134.jpgDSC09134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6">
            <a:alphaModFix amt="69000"/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635" y="-287020"/>
            <a:ext cx="12191365" cy="3162935"/>
          </a:xfrm>
          <a:prstGeom prst="rect">
            <a:avLst/>
          </a:prstGeom>
        </p:spPr>
      </p:pic>
      <p:sp>
        <p:nvSpPr>
          <p:cNvPr id="2" name="矩形 1"/>
          <p:cNvSpPr/>
          <p:nvPr userDrawn="1">
            <p:custDataLst>
              <p:tags r:id="rId4"/>
            </p:custDataLst>
          </p:nvPr>
        </p:nvSpPr>
        <p:spPr>
          <a:xfrm>
            <a:off x="0" y="2853161"/>
            <a:ext cx="1219200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994364" y="2981325"/>
            <a:ext cx="5419185" cy="895350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Section Header Here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1994363" y="3813818"/>
            <a:ext cx="5419185" cy="1015623"/>
          </a:xfrm>
        </p:spPr>
        <p:txBody>
          <a:bodyPr/>
          <a:lstStyle/>
          <a:p>
            <a:pPr lvl="0"/>
            <a:r>
              <a:rPr lang="en-US" altLang="zh-CN" dirty="0">
                <a:solidFill>
                  <a:schemeClr val="dk1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dk1"/>
                </a:solidFill>
                <a:cs typeface="+mn-ea"/>
                <a:sym typeface="+mn-lt"/>
              </a:rPr>
              <a:t>When you copy &amp; paste, choose "keep text only" option.</a:t>
            </a:r>
          </a:p>
        </p:txBody>
      </p:sp>
      <p:sp>
        <p:nvSpPr>
          <p:cNvPr id="9" name="文本框 8"/>
          <p:cNvSpPr txBox="1"/>
          <p:nvPr>
            <p:custDataLst>
              <p:tags r:id="rId2"/>
            </p:custDataLst>
          </p:nvPr>
        </p:nvSpPr>
        <p:spPr>
          <a:xfrm>
            <a:off x="990884" y="3507599"/>
            <a:ext cx="901523" cy="81403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</a:p>
        </p:txBody>
      </p:sp>
      <p:pic>
        <p:nvPicPr>
          <p:cNvPr id="4" name="图片 3" descr="D:\01啊菜\02珠澳学姐\珠澳学姐澳门四校图片\澳科大照片\DSC09127.jpgDSC09127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6">
            <a:alphaModFix amt="69000"/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0" y="0"/>
            <a:ext cx="12192000" cy="2875915"/>
          </a:xfrm>
          <a:prstGeom prst="rect">
            <a:avLst/>
          </a:prstGeom>
        </p:spPr>
      </p:pic>
      <p:sp>
        <p:nvSpPr>
          <p:cNvPr id="2" name="矩形 1"/>
          <p:cNvSpPr/>
          <p:nvPr userDrawn="1">
            <p:custDataLst>
              <p:tags r:id="rId4"/>
            </p:custDataLst>
          </p:nvPr>
        </p:nvSpPr>
        <p:spPr>
          <a:xfrm>
            <a:off x="0" y="2853161"/>
            <a:ext cx="1219200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387" name="矩形 386"/>
          <p:cNvSpPr/>
          <p:nvPr>
            <p:custDataLst>
              <p:tags r:id="rId2"/>
            </p:custDataLst>
          </p:nvPr>
        </p:nvSpPr>
        <p:spPr bwMode="auto">
          <a:xfrm>
            <a:off x="8062830" y="2343354"/>
            <a:ext cx="3199581" cy="5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88" name="文本框 387"/>
          <p:cNvSpPr txBox="1"/>
          <p:nvPr>
            <p:custDataLst>
              <p:tags r:id="rId3"/>
            </p:custDataLst>
          </p:nvPr>
        </p:nvSpPr>
        <p:spPr bwMode="auto">
          <a:xfrm>
            <a:off x="8062830" y="1897549"/>
            <a:ext cx="3199581" cy="44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85" name="矩形 384"/>
          <p:cNvSpPr/>
          <p:nvPr>
            <p:custDataLst>
              <p:tags r:id="rId4"/>
            </p:custDataLst>
          </p:nvPr>
        </p:nvSpPr>
        <p:spPr bwMode="auto">
          <a:xfrm>
            <a:off x="8319319" y="3594266"/>
            <a:ext cx="3199581" cy="5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86" name="文本框 385"/>
          <p:cNvSpPr txBox="1"/>
          <p:nvPr>
            <p:custDataLst>
              <p:tags r:id="rId5"/>
            </p:custDataLst>
          </p:nvPr>
        </p:nvSpPr>
        <p:spPr bwMode="auto">
          <a:xfrm>
            <a:off x="8319319" y="3148461"/>
            <a:ext cx="3199581" cy="44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83" name="矩形 382"/>
          <p:cNvSpPr/>
          <p:nvPr>
            <p:custDataLst>
              <p:tags r:id="rId6"/>
            </p:custDataLst>
          </p:nvPr>
        </p:nvSpPr>
        <p:spPr bwMode="auto">
          <a:xfrm>
            <a:off x="8062830" y="4845177"/>
            <a:ext cx="3199581" cy="5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84" name="文本框 383"/>
          <p:cNvSpPr txBox="1"/>
          <p:nvPr>
            <p:custDataLst>
              <p:tags r:id="rId7"/>
            </p:custDataLst>
          </p:nvPr>
        </p:nvSpPr>
        <p:spPr bwMode="auto">
          <a:xfrm>
            <a:off x="8062830" y="4399372"/>
            <a:ext cx="3199581" cy="44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345" name="直接连接符 344"/>
          <p:cNvCxnSpPr/>
          <p:nvPr>
            <p:custDataLst>
              <p:tags r:id="rId8"/>
            </p:custDataLst>
          </p:nvPr>
        </p:nvCxnSpPr>
        <p:spPr>
          <a:xfrm>
            <a:off x="8319319" y="3015220"/>
            <a:ext cx="3199581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直接连接符 345"/>
          <p:cNvCxnSpPr/>
          <p:nvPr>
            <p:custDataLst>
              <p:tags r:id="rId9"/>
            </p:custDataLst>
          </p:nvPr>
        </p:nvCxnSpPr>
        <p:spPr>
          <a:xfrm>
            <a:off x="8319319" y="4266132"/>
            <a:ext cx="3199581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矩形 380"/>
          <p:cNvSpPr/>
          <p:nvPr>
            <p:custDataLst>
              <p:tags r:id="rId10"/>
            </p:custDataLst>
          </p:nvPr>
        </p:nvSpPr>
        <p:spPr bwMode="auto">
          <a:xfrm flipH="1">
            <a:off x="930297" y="2343354"/>
            <a:ext cx="3199581" cy="5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82" name="文本框 381"/>
          <p:cNvSpPr txBox="1"/>
          <p:nvPr>
            <p:custDataLst>
              <p:tags r:id="rId11"/>
            </p:custDataLst>
          </p:nvPr>
        </p:nvSpPr>
        <p:spPr bwMode="auto">
          <a:xfrm flipH="1">
            <a:off x="930297" y="1897549"/>
            <a:ext cx="3199581" cy="44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79" name="矩形 378"/>
          <p:cNvSpPr/>
          <p:nvPr>
            <p:custDataLst>
              <p:tags r:id="rId12"/>
            </p:custDataLst>
          </p:nvPr>
        </p:nvSpPr>
        <p:spPr bwMode="auto">
          <a:xfrm flipH="1">
            <a:off x="673100" y="3594266"/>
            <a:ext cx="3199581" cy="5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80" name="文本框 379"/>
          <p:cNvSpPr txBox="1"/>
          <p:nvPr>
            <p:custDataLst>
              <p:tags r:id="rId13"/>
            </p:custDataLst>
          </p:nvPr>
        </p:nvSpPr>
        <p:spPr bwMode="auto">
          <a:xfrm flipH="1">
            <a:off x="673100" y="3148461"/>
            <a:ext cx="3199581" cy="44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77" name="矩形 376"/>
          <p:cNvSpPr/>
          <p:nvPr>
            <p:custDataLst>
              <p:tags r:id="rId14"/>
            </p:custDataLst>
          </p:nvPr>
        </p:nvSpPr>
        <p:spPr bwMode="auto">
          <a:xfrm flipH="1">
            <a:off x="934548" y="4845177"/>
            <a:ext cx="3199581" cy="5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78" name="文本框 377"/>
          <p:cNvSpPr txBox="1"/>
          <p:nvPr>
            <p:custDataLst>
              <p:tags r:id="rId15"/>
            </p:custDataLst>
          </p:nvPr>
        </p:nvSpPr>
        <p:spPr bwMode="auto">
          <a:xfrm flipH="1">
            <a:off x="934548" y="4399372"/>
            <a:ext cx="3199581" cy="445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350" name="直接连接符 349"/>
          <p:cNvCxnSpPr/>
          <p:nvPr>
            <p:custDataLst>
              <p:tags r:id="rId16"/>
            </p:custDataLst>
          </p:nvPr>
        </p:nvCxnSpPr>
        <p:spPr>
          <a:xfrm flipH="1">
            <a:off x="673100" y="3015220"/>
            <a:ext cx="3199581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直接连接符 350"/>
          <p:cNvCxnSpPr/>
          <p:nvPr>
            <p:custDataLst>
              <p:tags r:id="rId17"/>
            </p:custDataLst>
          </p:nvPr>
        </p:nvCxnSpPr>
        <p:spPr>
          <a:xfrm flipH="1">
            <a:off x="673100" y="4266132"/>
            <a:ext cx="3199581" cy="0"/>
          </a:xfrm>
          <a:prstGeom prst="line">
            <a:avLst/>
          </a:prstGeom>
          <a:ln w="3175" cap="rnd">
            <a:solidFill>
              <a:schemeClr val="lt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任意多边形: 形状 351"/>
          <p:cNvSpPr/>
          <p:nvPr>
            <p:custDataLst>
              <p:tags r:id="rId18"/>
            </p:custDataLst>
          </p:nvPr>
        </p:nvSpPr>
        <p:spPr bwMode="auto">
          <a:xfrm>
            <a:off x="5346018" y="2781195"/>
            <a:ext cx="739925" cy="481141"/>
          </a:xfrm>
          <a:custGeom>
            <a:avLst/>
            <a:gdLst>
              <a:gd name="T0" fmla="*/ 70 w 188"/>
              <a:gd name="T1" fmla="*/ 13 h 124"/>
              <a:gd name="T2" fmla="*/ 63 w 188"/>
              <a:gd name="T3" fmla="*/ 41 h 124"/>
              <a:gd name="T4" fmla="*/ 0 w 188"/>
              <a:gd name="T5" fmla="*/ 108 h 124"/>
              <a:gd name="T6" fmla="*/ 27 w 188"/>
              <a:gd name="T7" fmla="*/ 124 h 124"/>
              <a:gd name="T8" fmla="*/ 188 w 188"/>
              <a:gd name="T9" fmla="*/ 31 h 124"/>
              <a:gd name="T10" fmla="*/ 188 w 188"/>
              <a:gd name="T11" fmla="*/ 0 h 124"/>
              <a:gd name="T12" fmla="*/ 98 w 188"/>
              <a:gd name="T13" fmla="*/ 20 h 124"/>
              <a:gd name="T14" fmla="*/ 70 w 188"/>
              <a:gd name="T15" fmla="*/ 13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8" h="124">
                <a:moveTo>
                  <a:pt x="70" y="13"/>
                </a:moveTo>
                <a:cubicBezTo>
                  <a:pt x="63" y="41"/>
                  <a:pt x="63" y="41"/>
                  <a:pt x="63" y="41"/>
                </a:cubicBezTo>
                <a:cubicBezTo>
                  <a:pt x="37" y="59"/>
                  <a:pt x="16" y="82"/>
                  <a:pt x="0" y="108"/>
                </a:cubicBezTo>
                <a:cubicBezTo>
                  <a:pt x="27" y="124"/>
                  <a:pt x="27" y="124"/>
                  <a:pt x="27" y="124"/>
                </a:cubicBezTo>
                <a:cubicBezTo>
                  <a:pt x="60" y="69"/>
                  <a:pt x="120" y="33"/>
                  <a:pt x="188" y="31"/>
                </a:cubicBezTo>
                <a:cubicBezTo>
                  <a:pt x="188" y="0"/>
                  <a:pt x="188" y="0"/>
                  <a:pt x="188" y="0"/>
                </a:cubicBezTo>
                <a:cubicBezTo>
                  <a:pt x="156" y="1"/>
                  <a:pt x="125" y="8"/>
                  <a:pt x="98" y="20"/>
                </a:cubicBezTo>
                <a:lnTo>
                  <a:pt x="70" y="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3" name="任意多边形: 形状 352"/>
          <p:cNvSpPr/>
          <p:nvPr>
            <p:custDataLst>
              <p:tags r:id="rId19"/>
            </p:custDataLst>
          </p:nvPr>
        </p:nvSpPr>
        <p:spPr bwMode="auto">
          <a:xfrm>
            <a:off x="6105515" y="2781195"/>
            <a:ext cx="740468" cy="481141"/>
          </a:xfrm>
          <a:custGeom>
            <a:avLst/>
            <a:gdLst>
              <a:gd name="T0" fmla="*/ 161 w 188"/>
              <a:gd name="T1" fmla="*/ 124 h 124"/>
              <a:gd name="T2" fmla="*/ 188 w 188"/>
              <a:gd name="T3" fmla="*/ 108 h 124"/>
              <a:gd name="T4" fmla="*/ 125 w 188"/>
              <a:gd name="T5" fmla="*/ 41 h 124"/>
              <a:gd name="T6" fmla="*/ 118 w 188"/>
              <a:gd name="T7" fmla="*/ 13 h 124"/>
              <a:gd name="T8" fmla="*/ 90 w 188"/>
              <a:gd name="T9" fmla="*/ 20 h 124"/>
              <a:gd name="T10" fmla="*/ 0 w 188"/>
              <a:gd name="T11" fmla="*/ 0 h 124"/>
              <a:gd name="T12" fmla="*/ 0 w 188"/>
              <a:gd name="T13" fmla="*/ 31 h 124"/>
              <a:gd name="T14" fmla="*/ 161 w 188"/>
              <a:gd name="T15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8" h="124">
                <a:moveTo>
                  <a:pt x="161" y="124"/>
                </a:moveTo>
                <a:cubicBezTo>
                  <a:pt x="188" y="108"/>
                  <a:pt x="188" y="108"/>
                  <a:pt x="188" y="108"/>
                </a:cubicBezTo>
                <a:cubicBezTo>
                  <a:pt x="172" y="82"/>
                  <a:pt x="150" y="58"/>
                  <a:pt x="125" y="41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90" y="20"/>
                  <a:pt x="90" y="20"/>
                  <a:pt x="90" y="20"/>
                </a:cubicBezTo>
                <a:cubicBezTo>
                  <a:pt x="63" y="8"/>
                  <a:pt x="32" y="1"/>
                  <a:pt x="0" y="0"/>
                </a:cubicBezTo>
                <a:cubicBezTo>
                  <a:pt x="0" y="31"/>
                  <a:pt x="0" y="31"/>
                  <a:pt x="0" y="31"/>
                </a:cubicBezTo>
                <a:cubicBezTo>
                  <a:pt x="68" y="32"/>
                  <a:pt x="128" y="69"/>
                  <a:pt x="161" y="12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4" name="任意多边形: 形状 353"/>
          <p:cNvSpPr/>
          <p:nvPr>
            <p:custDataLst>
              <p:tags r:id="rId20"/>
            </p:custDataLst>
          </p:nvPr>
        </p:nvSpPr>
        <p:spPr bwMode="auto">
          <a:xfrm>
            <a:off x="6747580" y="3219387"/>
            <a:ext cx="295209" cy="842132"/>
          </a:xfrm>
          <a:custGeom>
            <a:avLst/>
            <a:gdLst>
              <a:gd name="T0" fmla="*/ 55 w 75"/>
              <a:gd name="T1" fmla="*/ 128 h 217"/>
              <a:gd name="T2" fmla="*/ 75 w 75"/>
              <a:gd name="T3" fmla="*/ 108 h 217"/>
              <a:gd name="T4" fmla="*/ 55 w 75"/>
              <a:gd name="T5" fmla="*/ 88 h 217"/>
              <a:gd name="T6" fmla="*/ 27 w 75"/>
              <a:gd name="T7" fmla="*/ 0 h 217"/>
              <a:gd name="T8" fmla="*/ 0 w 75"/>
              <a:gd name="T9" fmla="*/ 16 h 217"/>
              <a:gd name="T10" fmla="*/ 24 w 75"/>
              <a:gd name="T11" fmla="*/ 108 h 217"/>
              <a:gd name="T12" fmla="*/ 0 w 75"/>
              <a:gd name="T13" fmla="*/ 201 h 217"/>
              <a:gd name="T14" fmla="*/ 27 w 75"/>
              <a:gd name="T15" fmla="*/ 217 h 217"/>
              <a:gd name="T16" fmla="*/ 55 w 75"/>
              <a:gd name="T17" fmla="*/ 128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5" h="217">
                <a:moveTo>
                  <a:pt x="55" y="128"/>
                </a:moveTo>
                <a:cubicBezTo>
                  <a:pt x="75" y="108"/>
                  <a:pt x="75" y="108"/>
                  <a:pt x="75" y="108"/>
                </a:cubicBezTo>
                <a:cubicBezTo>
                  <a:pt x="55" y="88"/>
                  <a:pt x="55" y="88"/>
                  <a:pt x="55" y="88"/>
                </a:cubicBezTo>
                <a:cubicBezTo>
                  <a:pt x="52" y="56"/>
                  <a:pt x="42" y="27"/>
                  <a:pt x="27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16" y="43"/>
                  <a:pt x="24" y="75"/>
                  <a:pt x="24" y="108"/>
                </a:cubicBezTo>
                <a:cubicBezTo>
                  <a:pt x="24" y="142"/>
                  <a:pt x="16" y="174"/>
                  <a:pt x="0" y="201"/>
                </a:cubicBezTo>
                <a:cubicBezTo>
                  <a:pt x="27" y="217"/>
                  <a:pt x="27" y="217"/>
                  <a:pt x="27" y="217"/>
                </a:cubicBezTo>
                <a:cubicBezTo>
                  <a:pt x="42" y="190"/>
                  <a:pt x="52" y="160"/>
                  <a:pt x="55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5" name="任意多边形: 形状 354"/>
          <p:cNvSpPr/>
          <p:nvPr>
            <p:custDataLst>
              <p:tags r:id="rId21"/>
            </p:custDataLst>
          </p:nvPr>
        </p:nvSpPr>
        <p:spPr bwMode="auto">
          <a:xfrm>
            <a:off x="6105515" y="4018570"/>
            <a:ext cx="740468" cy="477335"/>
          </a:xfrm>
          <a:custGeom>
            <a:avLst/>
            <a:gdLst>
              <a:gd name="T0" fmla="*/ 0 w 188"/>
              <a:gd name="T1" fmla="*/ 123 h 123"/>
              <a:gd name="T2" fmla="*/ 90 w 188"/>
              <a:gd name="T3" fmla="*/ 103 h 123"/>
              <a:gd name="T4" fmla="*/ 118 w 188"/>
              <a:gd name="T5" fmla="*/ 111 h 123"/>
              <a:gd name="T6" fmla="*/ 125 w 188"/>
              <a:gd name="T7" fmla="*/ 83 h 123"/>
              <a:gd name="T8" fmla="*/ 188 w 188"/>
              <a:gd name="T9" fmla="*/ 15 h 123"/>
              <a:gd name="T10" fmla="*/ 161 w 188"/>
              <a:gd name="T11" fmla="*/ 0 h 123"/>
              <a:gd name="T12" fmla="*/ 0 w 188"/>
              <a:gd name="T13" fmla="*/ 92 h 123"/>
              <a:gd name="T14" fmla="*/ 0 w 188"/>
              <a:gd name="T15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8" h="123">
                <a:moveTo>
                  <a:pt x="0" y="123"/>
                </a:moveTo>
                <a:cubicBezTo>
                  <a:pt x="32" y="123"/>
                  <a:pt x="63" y="116"/>
                  <a:pt x="90" y="103"/>
                </a:cubicBezTo>
                <a:cubicBezTo>
                  <a:pt x="118" y="111"/>
                  <a:pt x="118" y="111"/>
                  <a:pt x="118" y="111"/>
                </a:cubicBezTo>
                <a:cubicBezTo>
                  <a:pt x="125" y="83"/>
                  <a:pt x="125" y="83"/>
                  <a:pt x="125" y="83"/>
                </a:cubicBezTo>
                <a:cubicBezTo>
                  <a:pt x="150" y="65"/>
                  <a:pt x="172" y="42"/>
                  <a:pt x="188" y="15"/>
                </a:cubicBezTo>
                <a:cubicBezTo>
                  <a:pt x="161" y="0"/>
                  <a:pt x="161" y="0"/>
                  <a:pt x="161" y="0"/>
                </a:cubicBezTo>
                <a:cubicBezTo>
                  <a:pt x="128" y="54"/>
                  <a:pt x="68" y="91"/>
                  <a:pt x="0" y="92"/>
                </a:cubicBezTo>
                <a:lnTo>
                  <a:pt x="0" y="12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6" name="任意多边形: 形状 355"/>
          <p:cNvSpPr/>
          <p:nvPr>
            <p:custDataLst>
              <p:tags r:id="rId22"/>
            </p:custDataLst>
          </p:nvPr>
        </p:nvSpPr>
        <p:spPr bwMode="auto">
          <a:xfrm>
            <a:off x="5346019" y="4018570"/>
            <a:ext cx="739925" cy="477335"/>
          </a:xfrm>
          <a:custGeom>
            <a:avLst/>
            <a:gdLst>
              <a:gd name="T0" fmla="*/ 27 w 188"/>
              <a:gd name="T1" fmla="*/ 0 h 123"/>
              <a:gd name="T2" fmla="*/ 0 w 188"/>
              <a:gd name="T3" fmla="*/ 15 h 123"/>
              <a:gd name="T4" fmla="*/ 63 w 188"/>
              <a:gd name="T5" fmla="*/ 83 h 123"/>
              <a:gd name="T6" fmla="*/ 70 w 188"/>
              <a:gd name="T7" fmla="*/ 111 h 123"/>
              <a:gd name="T8" fmla="*/ 98 w 188"/>
              <a:gd name="T9" fmla="*/ 103 h 123"/>
              <a:gd name="T10" fmla="*/ 188 w 188"/>
              <a:gd name="T11" fmla="*/ 123 h 123"/>
              <a:gd name="T12" fmla="*/ 188 w 188"/>
              <a:gd name="T13" fmla="*/ 92 h 123"/>
              <a:gd name="T14" fmla="*/ 27 w 188"/>
              <a:gd name="T15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8" h="123">
                <a:moveTo>
                  <a:pt x="27" y="0"/>
                </a:moveTo>
                <a:cubicBezTo>
                  <a:pt x="0" y="15"/>
                  <a:pt x="0" y="15"/>
                  <a:pt x="0" y="15"/>
                </a:cubicBezTo>
                <a:cubicBezTo>
                  <a:pt x="16" y="42"/>
                  <a:pt x="37" y="65"/>
                  <a:pt x="63" y="83"/>
                </a:cubicBezTo>
                <a:cubicBezTo>
                  <a:pt x="70" y="111"/>
                  <a:pt x="70" y="111"/>
                  <a:pt x="70" y="111"/>
                </a:cubicBezTo>
                <a:cubicBezTo>
                  <a:pt x="98" y="103"/>
                  <a:pt x="98" y="103"/>
                  <a:pt x="98" y="103"/>
                </a:cubicBezTo>
                <a:cubicBezTo>
                  <a:pt x="125" y="116"/>
                  <a:pt x="156" y="123"/>
                  <a:pt x="188" y="123"/>
                </a:cubicBezTo>
                <a:cubicBezTo>
                  <a:pt x="188" y="92"/>
                  <a:pt x="188" y="92"/>
                  <a:pt x="188" y="92"/>
                </a:cubicBezTo>
                <a:cubicBezTo>
                  <a:pt x="120" y="91"/>
                  <a:pt x="60" y="54"/>
                  <a:pt x="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7" name="任意多边形: 形状 356"/>
          <p:cNvSpPr/>
          <p:nvPr>
            <p:custDataLst>
              <p:tags r:id="rId23"/>
            </p:custDataLst>
          </p:nvPr>
        </p:nvSpPr>
        <p:spPr bwMode="auto">
          <a:xfrm>
            <a:off x="5149212" y="3219387"/>
            <a:ext cx="295209" cy="837783"/>
          </a:xfrm>
          <a:custGeom>
            <a:avLst/>
            <a:gdLst>
              <a:gd name="T0" fmla="*/ 48 w 75"/>
              <a:gd name="T1" fmla="*/ 0 h 216"/>
              <a:gd name="T2" fmla="*/ 20 w 75"/>
              <a:gd name="T3" fmla="*/ 88 h 216"/>
              <a:gd name="T4" fmla="*/ 0 w 75"/>
              <a:gd name="T5" fmla="*/ 108 h 216"/>
              <a:gd name="T6" fmla="*/ 20 w 75"/>
              <a:gd name="T7" fmla="*/ 129 h 216"/>
              <a:gd name="T8" fmla="*/ 48 w 75"/>
              <a:gd name="T9" fmla="*/ 216 h 216"/>
              <a:gd name="T10" fmla="*/ 75 w 75"/>
              <a:gd name="T11" fmla="*/ 201 h 216"/>
              <a:gd name="T12" fmla="*/ 51 w 75"/>
              <a:gd name="T13" fmla="*/ 108 h 216"/>
              <a:gd name="T14" fmla="*/ 75 w 75"/>
              <a:gd name="T15" fmla="*/ 16 h 216"/>
              <a:gd name="T16" fmla="*/ 48 w 75"/>
              <a:gd name="T17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5" h="216">
                <a:moveTo>
                  <a:pt x="48" y="0"/>
                </a:moveTo>
                <a:cubicBezTo>
                  <a:pt x="33" y="27"/>
                  <a:pt x="23" y="56"/>
                  <a:pt x="20" y="88"/>
                </a:cubicBezTo>
                <a:cubicBezTo>
                  <a:pt x="0" y="108"/>
                  <a:pt x="0" y="108"/>
                  <a:pt x="0" y="108"/>
                </a:cubicBezTo>
                <a:cubicBezTo>
                  <a:pt x="20" y="129"/>
                  <a:pt x="20" y="129"/>
                  <a:pt x="20" y="129"/>
                </a:cubicBezTo>
                <a:cubicBezTo>
                  <a:pt x="23" y="160"/>
                  <a:pt x="33" y="190"/>
                  <a:pt x="48" y="216"/>
                </a:cubicBezTo>
                <a:cubicBezTo>
                  <a:pt x="75" y="201"/>
                  <a:pt x="75" y="201"/>
                  <a:pt x="75" y="201"/>
                </a:cubicBezTo>
                <a:cubicBezTo>
                  <a:pt x="59" y="173"/>
                  <a:pt x="51" y="142"/>
                  <a:pt x="51" y="108"/>
                </a:cubicBezTo>
                <a:cubicBezTo>
                  <a:pt x="51" y="75"/>
                  <a:pt x="59" y="43"/>
                  <a:pt x="75" y="16"/>
                </a:cubicBezTo>
                <a:lnTo>
                  <a:pt x="4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58" name="任意多边形: 形状 357"/>
          <p:cNvSpPr/>
          <p:nvPr>
            <p:custDataLst>
              <p:tags r:id="rId24"/>
            </p:custDataLst>
          </p:nvPr>
        </p:nvSpPr>
        <p:spPr bwMode="auto">
          <a:xfrm>
            <a:off x="5770343" y="3242098"/>
            <a:ext cx="651314" cy="792904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5" name="任意多边形: 形状 374"/>
          <p:cNvSpPr/>
          <p:nvPr>
            <p:custDataLst>
              <p:tags r:id="rId25"/>
            </p:custDataLst>
          </p:nvPr>
        </p:nvSpPr>
        <p:spPr bwMode="auto">
          <a:xfrm>
            <a:off x="4317507" y="2775151"/>
            <a:ext cx="704952" cy="1730825"/>
          </a:xfrm>
          <a:custGeom>
            <a:avLst/>
            <a:gdLst>
              <a:gd name="T0" fmla="*/ 129 w 168"/>
              <a:gd name="T1" fmla="*/ 209 h 419"/>
              <a:gd name="T2" fmla="*/ 167 w 168"/>
              <a:gd name="T3" fmla="*/ 65 h 419"/>
              <a:gd name="T4" fmla="*/ 55 w 168"/>
              <a:gd name="T5" fmla="*/ 0 h 419"/>
              <a:gd name="T6" fmla="*/ 0 w 168"/>
              <a:gd name="T7" fmla="*/ 209 h 419"/>
              <a:gd name="T8" fmla="*/ 56 w 168"/>
              <a:gd name="T9" fmla="*/ 419 h 419"/>
              <a:gd name="T10" fmla="*/ 168 w 168"/>
              <a:gd name="T11" fmla="*/ 355 h 419"/>
              <a:gd name="T12" fmla="*/ 129 w 168"/>
              <a:gd name="T13" fmla="*/ 209 h 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8" h="419">
                <a:moveTo>
                  <a:pt x="129" y="209"/>
                </a:moveTo>
                <a:cubicBezTo>
                  <a:pt x="129" y="157"/>
                  <a:pt x="143" y="108"/>
                  <a:pt x="167" y="65"/>
                </a:cubicBezTo>
                <a:cubicBezTo>
                  <a:pt x="55" y="0"/>
                  <a:pt x="55" y="0"/>
                  <a:pt x="55" y="0"/>
                </a:cubicBezTo>
                <a:cubicBezTo>
                  <a:pt x="20" y="62"/>
                  <a:pt x="0" y="133"/>
                  <a:pt x="0" y="209"/>
                </a:cubicBezTo>
                <a:cubicBezTo>
                  <a:pt x="0" y="286"/>
                  <a:pt x="21" y="357"/>
                  <a:pt x="56" y="419"/>
                </a:cubicBezTo>
                <a:cubicBezTo>
                  <a:pt x="168" y="355"/>
                  <a:pt x="168" y="355"/>
                  <a:pt x="168" y="355"/>
                </a:cubicBezTo>
                <a:cubicBezTo>
                  <a:pt x="143" y="312"/>
                  <a:pt x="129" y="262"/>
                  <a:pt x="129" y="20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6" name="任意多边形: 形状 375"/>
          <p:cNvSpPr/>
          <p:nvPr>
            <p:custDataLst>
              <p:tags r:id="rId26"/>
            </p:custDataLst>
          </p:nvPr>
        </p:nvSpPr>
        <p:spPr>
          <a:xfrm>
            <a:off x="4417642" y="3458827"/>
            <a:ext cx="370078" cy="363468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prstDash val="sysDash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73" name="任意多边形: 形状 372"/>
          <p:cNvSpPr/>
          <p:nvPr>
            <p:custDataLst>
              <p:tags r:id="rId27"/>
            </p:custDataLst>
          </p:nvPr>
        </p:nvSpPr>
        <p:spPr bwMode="auto">
          <a:xfrm>
            <a:off x="4565247" y="4262265"/>
            <a:ext cx="1517996" cy="1127252"/>
          </a:xfrm>
          <a:custGeom>
            <a:avLst/>
            <a:gdLst>
              <a:gd name="T0" fmla="*/ 112 w 362"/>
              <a:gd name="T1" fmla="*/ 0 h 273"/>
              <a:gd name="T2" fmla="*/ 0 w 362"/>
              <a:gd name="T3" fmla="*/ 64 h 273"/>
              <a:gd name="T4" fmla="*/ 362 w 362"/>
              <a:gd name="T5" fmla="*/ 273 h 273"/>
              <a:gd name="T6" fmla="*/ 362 w 362"/>
              <a:gd name="T7" fmla="*/ 144 h 273"/>
              <a:gd name="T8" fmla="*/ 112 w 36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2" h="273">
                <a:moveTo>
                  <a:pt x="112" y="0"/>
                </a:moveTo>
                <a:cubicBezTo>
                  <a:pt x="0" y="64"/>
                  <a:pt x="0" y="64"/>
                  <a:pt x="0" y="64"/>
                </a:cubicBezTo>
                <a:cubicBezTo>
                  <a:pt x="73" y="189"/>
                  <a:pt x="208" y="272"/>
                  <a:pt x="362" y="273"/>
                </a:cubicBezTo>
                <a:cubicBezTo>
                  <a:pt x="362" y="144"/>
                  <a:pt x="362" y="144"/>
                  <a:pt x="362" y="144"/>
                </a:cubicBezTo>
                <a:cubicBezTo>
                  <a:pt x="256" y="143"/>
                  <a:pt x="163" y="85"/>
                  <a:pt x="11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4" name="任意多边形: 形状 373"/>
          <p:cNvSpPr/>
          <p:nvPr>
            <p:custDataLst>
              <p:tags r:id="rId28"/>
            </p:custDataLst>
          </p:nvPr>
        </p:nvSpPr>
        <p:spPr>
          <a:xfrm>
            <a:off x="5102735" y="4690502"/>
            <a:ext cx="308416" cy="338072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tx2"/>
          </a:solidFill>
          <a:ln w="19050">
            <a:noFill/>
            <a:prstDash val="sysDash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71" name="任意多边形: 形状 370"/>
          <p:cNvSpPr/>
          <p:nvPr>
            <p:custDataLst>
              <p:tags r:id="rId29"/>
            </p:custDataLst>
          </p:nvPr>
        </p:nvSpPr>
        <p:spPr bwMode="auto">
          <a:xfrm>
            <a:off x="6108756" y="4262265"/>
            <a:ext cx="1522696" cy="1127252"/>
          </a:xfrm>
          <a:custGeom>
            <a:avLst/>
            <a:gdLst>
              <a:gd name="T0" fmla="*/ 0 w 363"/>
              <a:gd name="T1" fmla="*/ 144 h 273"/>
              <a:gd name="T2" fmla="*/ 0 w 363"/>
              <a:gd name="T3" fmla="*/ 273 h 273"/>
              <a:gd name="T4" fmla="*/ 363 w 363"/>
              <a:gd name="T5" fmla="*/ 64 h 273"/>
              <a:gd name="T6" fmla="*/ 251 w 363"/>
              <a:gd name="T7" fmla="*/ 0 h 273"/>
              <a:gd name="T8" fmla="*/ 0 w 363"/>
              <a:gd name="T9" fmla="*/ 144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" h="273">
                <a:moveTo>
                  <a:pt x="0" y="144"/>
                </a:moveTo>
                <a:cubicBezTo>
                  <a:pt x="0" y="273"/>
                  <a:pt x="0" y="273"/>
                  <a:pt x="0" y="273"/>
                </a:cubicBezTo>
                <a:cubicBezTo>
                  <a:pt x="155" y="272"/>
                  <a:pt x="289" y="189"/>
                  <a:pt x="363" y="64"/>
                </a:cubicBezTo>
                <a:cubicBezTo>
                  <a:pt x="251" y="0"/>
                  <a:pt x="251" y="0"/>
                  <a:pt x="251" y="0"/>
                </a:cubicBezTo>
                <a:cubicBezTo>
                  <a:pt x="200" y="86"/>
                  <a:pt x="107" y="143"/>
                  <a:pt x="0" y="14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2" name="任意多边形: 形状 371"/>
          <p:cNvSpPr/>
          <p:nvPr>
            <p:custDataLst>
              <p:tags r:id="rId30"/>
            </p:custDataLst>
          </p:nvPr>
        </p:nvSpPr>
        <p:spPr>
          <a:xfrm>
            <a:off x="6791774" y="4775892"/>
            <a:ext cx="291258" cy="218443"/>
          </a:xfrm>
          <a:custGeom>
            <a:avLst/>
            <a:gdLst>
              <a:gd name="connsiteX0" fmla="*/ 504825 w 533400"/>
              <a:gd name="connsiteY0" fmla="*/ 0 h 400050"/>
              <a:gd name="connsiteX1" fmla="*/ 533400 w 533400"/>
              <a:gd name="connsiteY1" fmla="*/ 28575 h 400050"/>
              <a:gd name="connsiteX2" fmla="*/ 533400 w 533400"/>
              <a:gd name="connsiteY2" fmla="*/ 371475 h 400050"/>
              <a:gd name="connsiteX3" fmla="*/ 504825 w 533400"/>
              <a:gd name="connsiteY3" fmla="*/ 400050 h 400050"/>
              <a:gd name="connsiteX4" fmla="*/ 28575 w 533400"/>
              <a:gd name="connsiteY4" fmla="*/ 400050 h 400050"/>
              <a:gd name="connsiteX5" fmla="*/ 0 w 533400"/>
              <a:gd name="connsiteY5" fmla="*/ 371475 h 400050"/>
              <a:gd name="connsiteX6" fmla="*/ 0 w 533400"/>
              <a:gd name="connsiteY6" fmla="*/ 28575 h 400050"/>
              <a:gd name="connsiteX7" fmla="*/ 28575 w 533400"/>
              <a:gd name="connsiteY7" fmla="*/ 0 h 400050"/>
              <a:gd name="connsiteX8" fmla="*/ 504825 w 533400"/>
              <a:gd name="connsiteY8" fmla="*/ 0 h 400050"/>
              <a:gd name="connsiteX9" fmla="*/ 390811 w 533400"/>
              <a:gd name="connsiteY9" fmla="*/ 198025 h 400050"/>
              <a:gd name="connsiteX10" fmla="*/ 350806 w 533400"/>
              <a:gd name="connsiteY10" fmla="*/ 203549 h 400050"/>
              <a:gd name="connsiteX11" fmla="*/ 350806 w 533400"/>
              <a:gd name="connsiteY11" fmla="*/ 203549 h 400050"/>
              <a:gd name="connsiteX12" fmla="*/ 266510 w 533400"/>
              <a:gd name="connsiteY12" fmla="*/ 314992 h 400050"/>
              <a:gd name="connsiteX13" fmla="*/ 264033 w 533400"/>
              <a:gd name="connsiteY13" fmla="*/ 317849 h 400050"/>
              <a:gd name="connsiteX14" fmla="*/ 223647 w 533400"/>
              <a:gd name="connsiteY14" fmla="*/ 318135 h 400050"/>
              <a:gd name="connsiteX15" fmla="*/ 223647 w 533400"/>
              <a:gd name="connsiteY15" fmla="*/ 318135 h 400050"/>
              <a:gd name="connsiteX16" fmla="*/ 161544 w 533400"/>
              <a:gd name="connsiteY16" fmla="*/ 256794 h 400050"/>
              <a:gd name="connsiteX17" fmla="*/ 159639 w 533400"/>
              <a:gd name="connsiteY17" fmla="*/ 255079 h 400050"/>
              <a:gd name="connsiteX18" fmla="*/ 119444 w 533400"/>
              <a:gd name="connsiteY18" fmla="*/ 258985 h 400050"/>
              <a:gd name="connsiteX19" fmla="*/ 119444 w 533400"/>
              <a:gd name="connsiteY19" fmla="*/ 258985 h 400050"/>
              <a:gd name="connsiteX20" fmla="*/ 31909 w 533400"/>
              <a:gd name="connsiteY20" fmla="*/ 365474 h 400050"/>
              <a:gd name="connsiteX21" fmla="*/ 29718 w 533400"/>
              <a:gd name="connsiteY21" fmla="*/ 371475 h 400050"/>
              <a:gd name="connsiteX22" fmla="*/ 39243 w 533400"/>
              <a:gd name="connsiteY22" fmla="*/ 381000 h 400050"/>
              <a:gd name="connsiteX23" fmla="*/ 39243 w 533400"/>
              <a:gd name="connsiteY23" fmla="*/ 381000 h 400050"/>
              <a:gd name="connsiteX24" fmla="*/ 496634 w 533400"/>
              <a:gd name="connsiteY24" fmla="*/ 381000 h 400050"/>
              <a:gd name="connsiteX25" fmla="*/ 501872 w 533400"/>
              <a:gd name="connsiteY25" fmla="*/ 379381 h 400050"/>
              <a:gd name="connsiteX26" fmla="*/ 504539 w 533400"/>
              <a:gd name="connsiteY26" fmla="*/ 366141 h 400050"/>
              <a:gd name="connsiteX27" fmla="*/ 504539 w 533400"/>
              <a:gd name="connsiteY27" fmla="*/ 366141 h 400050"/>
              <a:gd name="connsiteX28" fmla="*/ 397383 w 533400"/>
              <a:gd name="connsiteY28" fmla="*/ 204883 h 400050"/>
              <a:gd name="connsiteX29" fmla="*/ 390811 w 533400"/>
              <a:gd name="connsiteY29" fmla="*/ 198025 h 400050"/>
              <a:gd name="connsiteX30" fmla="*/ 95250 w 533400"/>
              <a:gd name="connsiteY30" fmla="*/ 57150 h 400050"/>
              <a:gd name="connsiteX31" fmla="*/ 57150 w 533400"/>
              <a:gd name="connsiteY31" fmla="*/ 95250 h 400050"/>
              <a:gd name="connsiteX32" fmla="*/ 95250 w 533400"/>
              <a:gd name="connsiteY32" fmla="*/ 133350 h 400050"/>
              <a:gd name="connsiteX33" fmla="*/ 133350 w 533400"/>
              <a:gd name="connsiteY33" fmla="*/ 95250 h 400050"/>
              <a:gd name="connsiteX34" fmla="*/ 95250 w 533400"/>
              <a:gd name="connsiteY34" fmla="*/ 57150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33400" h="400050">
                <a:moveTo>
                  <a:pt x="504825" y="0"/>
                </a:moveTo>
                <a:cubicBezTo>
                  <a:pt x="520637" y="0"/>
                  <a:pt x="533400" y="12764"/>
                  <a:pt x="533400" y="28575"/>
                </a:cubicBezTo>
                <a:lnTo>
                  <a:pt x="533400" y="371475"/>
                </a:lnTo>
                <a:cubicBezTo>
                  <a:pt x="533400" y="387287"/>
                  <a:pt x="520637" y="400050"/>
                  <a:pt x="504825" y="400050"/>
                </a:cubicBezTo>
                <a:lnTo>
                  <a:pt x="28575" y="400050"/>
                </a:lnTo>
                <a:cubicBezTo>
                  <a:pt x="12763" y="400050"/>
                  <a:pt x="0" y="387287"/>
                  <a:pt x="0" y="371475"/>
                </a:cubicBezTo>
                <a:lnTo>
                  <a:pt x="0" y="28575"/>
                </a:lnTo>
                <a:cubicBezTo>
                  <a:pt x="0" y="12764"/>
                  <a:pt x="12763" y="0"/>
                  <a:pt x="28575" y="0"/>
                </a:cubicBezTo>
                <a:lnTo>
                  <a:pt x="504825" y="0"/>
                </a:lnTo>
                <a:close/>
                <a:moveTo>
                  <a:pt x="390811" y="198025"/>
                </a:moveTo>
                <a:cubicBezTo>
                  <a:pt x="378238" y="188500"/>
                  <a:pt x="360331" y="190976"/>
                  <a:pt x="350806" y="203549"/>
                </a:cubicBezTo>
                <a:lnTo>
                  <a:pt x="350806" y="203549"/>
                </a:lnTo>
                <a:lnTo>
                  <a:pt x="266510" y="314992"/>
                </a:lnTo>
                <a:cubicBezTo>
                  <a:pt x="265747" y="316040"/>
                  <a:pt x="264890" y="316897"/>
                  <a:pt x="264033" y="317849"/>
                </a:cubicBezTo>
                <a:cubicBezTo>
                  <a:pt x="252984" y="329089"/>
                  <a:pt x="234887" y="329184"/>
                  <a:pt x="223647" y="318135"/>
                </a:cubicBezTo>
                <a:lnTo>
                  <a:pt x="223647" y="318135"/>
                </a:lnTo>
                <a:lnTo>
                  <a:pt x="161544" y="256794"/>
                </a:lnTo>
                <a:cubicBezTo>
                  <a:pt x="160877" y="256223"/>
                  <a:pt x="160306" y="255556"/>
                  <a:pt x="159639" y="255079"/>
                </a:cubicBezTo>
                <a:cubicBezTo>
                  <a:pt x="147447" y="245078"/>
                  <a:pt x="129445" y="246793"/>
                  <a:pt x="119444" y="258985"/>
                </a:cubicBezTo>
                <a:lnTo>
                  <a:pt x="119444" y="258985"/>
                </a:lnTo>
                <a:lnTo>
                  <a:pt x="31909" y="365474"/>
                </a:lnTo>
                <a:cubicBezTo>
                  <a:pt x="30480" y="367189"/>
                  <a:pt x="29718" y="369284"/>
                  <a:pt x="29718" y="371475"/>
                </a:cubicBezTo>
                <a:cubicBezTo>
                  <a:pt x="29718" y="376714"/>
                  <a:pt x="34004" y="381000"/>
                  <a:pt x="39243" y="381000"/>
                </a:cubicBezTo>
                <a:lnTo>
                  <a:pt x="39243" y="381000"/>
                </a:lnTo>
                <a:lnTo>
                  <a:pt x="496634" y="381000"/>
                </a:lnTo>
                <a:cubicBezTo>
                  <a:pt x="498538" y="381000"/>
                  <a:pt x="500348" y="380429"/>
                  <a:pt x="501872" y="379381"/>
                </a:cubicBezTo>
                <a:cubicBezTo>
                  <a:pt x="506254" y="376428"/>
                  <a:pt x="507397" y="370523"/>
                  <a:pt x="504539" y="366141"/>
                </a:cubicBezTo>
                <a:lnTo>
                  <a:pt x="504539" y="366141"/>
                </a:lnTo>
                <a:lnTo>
                  <a:pt x="397383" y="204883"/>
                </a:lnTo>
                <a:cubicBezTo>
                  <a:pt x="395573" y="202311"/>
                  <a:pt x="393382" y="199930"/>
                  <a:pt x="390811" y="198025"/>
                </a:cubicBezTo>
                <a:close/>
                <a:moveTo>
                  <a:pt x="95250" y="57150"/>
                </a:moveTo>
                <a:cubicBezTo>
                  <a:pt x="74200" y="57150"/>
                  <a:pt x="57150" y="74200"/>
                  <a:pt x="57150" y="95250"/>
                </a:cubicBezTo>
                <a:cubicBezTo>
                  <a:pt x="57150" y="116300"/>
                  <a:pt x="74200" y="133350"/>
                  <a:pt x="95250" y="133350"/>
                </a:cubicBezTo>
                <a:cubicBezTo>
                  <a:pt x="116300" y="133350"/>
                  <a:pt x="133350" y="116300"/>
                  <a:pt x="133350" y="95250"/>
                </a:cubicBezTo>
                <a:cubicBezTo>
                  <a:pt x="133350" y="74200"/>
                  <a:pt x="116300" y="57150"/>
                  <a:pt x="95250" y="57150"/>
                </a:cubicBezTo>
                <a:close/>
              </a:path>
            </a:pathLst>
          </a:custGeom>
          <a:solidFill>
            <a:schemeClr val="tx2"/>
          </a:solidFill>
          <a:ln w="19050">
            <a:noFill/>
            <a:prstDash val="sysDash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69" name="任意多边形: 形状 368"/>
          <p:cNvSpPr/>
          <p:nvPr>
            <p:custDataLst>
              <p:tags r:id="rId31"/>
            </p:custDataLst>
          </p:nvPr>
        </p:nvSpPr>
        <p:spPr bwMode="auto">
          <a:xfrm>
            <a:off x="7174240" y="2775151"/>
            <a:ext cx="700253" cy="1734854"/>
          </a:xfrm>
          <a:custGeom>
            <a:avLst/>
            <a:gdLst>
              <a:gd name="T0" fmla="*/ 112 w 167"/>
              <a:gd name="T1" fmla="*/ 0 h 420"/>
              <a:gd name="T2" fmla="*/ 0 w 167"/>
              <a:gd name="T3" fmla="*/ 65 h 420"/>
              <a:gd name="T4" fmla="*/ 38 w 167"/>
              <a:gd name="T5" fmla="*/ 209 h 420"/>
              <a:gd name="T6" fmla="*/ 0 w 167"/>
              <a:gd name="T7" fmla="*/ 355 h 420"/>
              <a:gd name="T8" fmla="*/ 112 w 167"/>
              <a:gd name="T9" fmla="*/ 420 h 420"/>
              <a:gd name="T10" fmla="*/ 167 w 167"/>
              <a:gd name="T11" fmla="*/ 209 h 420"/>
              <a:gd name="T12" fmla="*/ 112 w 167"/>
              <a:gd name="T13" fmla="*/ 0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" h="420">
                <a:moveTo>
                  <a:pt x="112" y="0"/>
                </a:moveTo>
                <a:cubicBezTo>
                  <a:pt x="0" y="65"/>
                  <a:pt x="0" y="65"/>
                  <a:pt x="0" y="65"/>
                </a:cubicBezTo>
                <a:cubicBezTo>
                  <a:pt x="25" y="107"/>
                  <a:pt x="38" y="157"/>
                  <a:pt x="38" y="209"/>
                </a:cubicBezTo>
                <a:cubicBezTo>
                  <a:pt x="38" y="262"/>
                  <a:pt x="24" y="312"/>
                  <a:pt x="0" y="355"/>
                </a:cubicBezTo>
                <a:cubicBezTo>
                  <a:pt x="112" y="420"/>
                  <a:pt x="112" y="420"/>
                  <a:pt x="112" y="420"/>
                </a:cubicBezTo>
                <a:cubicBezTo>
                  <a:pt x="147" y="358"/>
                  <a:pt x="167" y="286"/>
                  <a:pt x="167" y="209"/>
                </a:cubicBezTo>
                <a:cubicBezTo>
                  <a:pt x="167" y="133"/>
                  <a:pt x="147" y="62"/>
                  <a:pt x="11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0" name="任意多边形: 形状 369"/>
          <p:cNvSpPr/>
          <p:nvPr>
            <p:custDataLst>
              <p:tags r:id="rId32"/>
            </p:custDataLst>
          </p:nvPr>
        </p:nvSpPr>
        <p:spPr>
          <a:xfrm>
            <a:off x="7422631" y="3507974"/>
            <a:ext cx="338072" cy="269206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2"/>
          </a:solidFill>
          <a:ln w="19050">
            <a:noFill/>
            <a:prstDash val="sysDash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67" name="任意多边形: 形状 366"/>
          <p:cNvSpPr/>
          <p:nvPr>
            <p:custDataLst>
              <p:tags r:id="rId33"/>
            </p:custDataLst>
          </p:nvPr>
        </p:nvSpPr>
        <p:spPr bwMode="auto">
          <a:xfrm>
            <a:off x="4561219" y="1887583"/>
            <a:ext cx="1522025" cy="1135309"/>
          </a:xfrm>
          <a:custGeom>
            <a:avLst/>
            <a:gdLst>
              <a:gd name="T0" fmla="*/ 363 w 363"/>
              <a:gd name="T1" fmla="*/ 129 h 275"/>
              <a:gd name="T2" fmla="*/ 363 w 363"/>
              <a:gd name="T3" fmla="*/ 0 h 275"/>
              <a:gd name="T4" fmla="*/ 0 w 363"/>
              <a:gd name="T5" fmla="*/ 211 h 275"/>
              <a:gd name="T6" fmla="*/ 112 w 363"/>
              <a:gd name="T7" fmla="*/ 275 h 275"/>
              <a:gd name="T8" fmla="*/ 363 w 363"/>
              <a:gd name="T9" fmla="*/ 129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" h="275">
                <a:moveTo>
                  <a:pt x="363" y="129"/>
                </a:moveTo>
                <a:cubicBezTo>
                  <a:pt x="363" y="0"/>
                  <a:pt x="363" y="0"/>
                  <a:pt x="363" y="0"/>
                </a:cubicBezTo>
                <a:cubicBezTo>
                  <a:pt x="208" y="1"/>
                  <a:pt x="73" y="86"/>
                  <a:pt x="0" y="211"/>
                </a:cubicBezTo>
                <a:cubicBezTo>
                  <a:pt x="112" y="275"/>
                  <a:pt x="112" y="275"/>
                  <a:pt x="112" y="275"/>
                </a:cubicBezTo>
                <a:cubicBezTo>
                  <a:pt x="163" y="189"/>
                  <a:pt x="256" y="130"/>
                  <a:pt x="363" y="12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68" name="任意多边形: 形状 367"/>
          <p:cNvSpPr/>
          <p:nvPr>
            <p:custDataLst>
              <p:tags r:id="rId34"/>
            </p:custDataLst>
          </p:nvPr>
        </p:nvSpPr>
        <p:spPr>
          <a:xfrm>
            <a:off x="5027531" y="2277451"/>
            <a:ext cx="286547" cy="308142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2"/>
          </a:solidFill>
          <a:ln w="19050">
            <a:noFill/>
            <a:prstDash val="sysDash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65" name="任意多边形: 形状 364"/>
          <p:cNvSpPr/>
          <p:nvPr>
            <p:custDataLst>
              <p:tags r:id="rId35"/>
            </p:custDataLst>
          </p:nvPr>
        </p:nvSpPr>
        <p:spPr bwMode="auto">
          <a:xfrm>
            <a:off x="6108756" y="1887583"/>
            <a:ext cx="1522696" cy="1135309"/>
          </a:xfrm>
          <a:custGeom>
            <a:avLst/>
            <a:gdLst>
              <a:gd name="T0" fmla="*/ 252 w 363"/>
              <a:gd name="T1" fmla="*/ 275 h 275"/>
              <a:gd name="T2" fmla="*/ 363 w 363"/>
              <a:gd name="T3" fmla="*/ 210 h 275"/>
              <a:gd name="T4" fmla="*/ 0 w 363"/>
              <a:gd name="T5" fmla="*/ 0 h 275"/>
              <a:gd name="T6" fmla="*/ 0 w 363"/>
              <a:gd name="T7" fmla="*/ 129 h 275"/>
              <a:gd name="T8" fmla="*/ 252 w 363"/>
              <a:gd name="T9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" h="275">
                <a:moveTo>
                  <a:pt x="252" y="275"/>
                </a:moveTo>
                <a:cubicBezTo>
                  <a:pt x="363" y="210"/>
                  <a:pt x="363" y="210"/>
                  <a:pt x="363" y="210"/>
                </a:cubicBezTo>
                <a:cubicBezTo>
                  <a:pt x="290" y="85"/>
                  <a:pt x="155" y="1"/>
                  <a:pt x="0" y="0"/>
                </a:cubicBezTo>
                <a:cubicBezTo>
                  <a:pt x="0" y="129"/>
                  <a:pt x="0" y="129"/>
                  <a:pt x="0" y="129"/>
                </a:cubicBezTo>
                <a:cubicBezTo>
                  <a:pt x="107" y="130"/>
                  <a:pt x="201" y="189"/>
                  <a:pt x="252" y="27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66" name="任意多边形: 形状 365"/>
          <p:cNvSpPr/>
          <p:nvPr>
            <p:custDataLst>
              <p:tags r:id="rId36"/>
            </p:custDataLst>
          </p:nvPr>
        </p:nvSpPr>
        <p:spPr>
          <a:xfrm>
            <a:off x="6859474" y="2283936"/>
            <a:ext cx="324109" cy="295170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prstDash val="sysDash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39" name="任意多边形: 形状 38"/>
          <p:cNvSpPr/>
          <p:nvPr>
            <p:custDataLst>
              <p:tags r:id="rId1"/>
            </p:custDataLst>
          </p:nvPr>
        </p:nvSpPr>
        <p:spPr bwMode="auto">
          <a:xfrm>
            <a:off x="4403461" y="1301175"/>
            <a:ext cx="3442852" cy="3018299"/>
          </a:xfrm>
          <a:custGeom>
            <a:avLst/>
            <a:gdLst>
              <a:gd name="T0" fmla="*/ 72 w 73"/>
              <a:gd name="T1" fmla="*/ 62 h 64"/>
              <a:gd name="T2" fmla="*/ 58 w 73"/>
              <a:gd name="T3" fmla="*/ 49 h 64"/>
              <a:gd name="T4" fmla="*/ 46 w 73"/>
              <a:gd name="T5" fmla="*/ 43 h 64"/>
              <a:gd name="T6" fmla="*/ 44 w 73"/>
              <a:gd name="T7" fmla="*/ 42 h 64"/>
              <a:gd name="T8" fmla="*/ 44 w 73"/>
              <a:gd name="T9" fmla="*/ 42 h 64"/>
              <a:gd name="T10" fmla="*/ 44 w 73"/>
              <a:gd name="T11" fmla="*/ 42 h 64"/>
              <a:gd name="T12" fmla="*/ 42 w 73"/>
              <a:gd name="T13" fmla="*/ 41 h 64"/>
              <a:gd name="T14" fmla="*/ 42 w 73"/>
              <a:gd name="T15" fmla="*/ 41 h 64"/>
              <a:gd name="T16" fmla="*/ 42 w 73"/>
              <a:gd name="T17" fmla="*/ 41 h 64"/>
              <a:gd name="T18" fmla="*/ 39 w 73"/>
              <a:gd name="T19" fmla="*/ 36 h 64"/>
              <a:gd name="T20" fmla="*/ 39 w 73"/>
              <a:gd name="T21" fmla="*/ 36 h 64"/>
              <a:gd name="T22" fmla="*/ 40 w 73"/>
              <a:gd name="T23" fmla="*/ 35 h 64"/>
              <a:gd name="T24" fmla="*/ 40 w 73"/>
              <a:gd name="T25" fmla="*/ 35 h 64"/>
              <a:gd name="T26" fmla="*/ 40 w 73"/>
              <a:gd name="T27" fmla="*/ 35 h 64"/>
              <a:gd name="T28" fmla="*/ 40 w 73"/>
              <a:gd name="T29" fmla="*/ 33 h 64"/>
              <a:gd name="T30" fmla="*/ 41 w 73"/>
              <a:gd name="T31" fmla="*/ 19 h 64"/>
              <a:gd name="T32" fmla="*/ 37 w 73"/>
              <a:gd name="T33" fmla="*/ 0 h 64"/>
              <a:gd name="T34" fmla="*/ 33 w 73"/>
              <a:gd name="T35" fmla="*/ 19 h 64"/>
              <a:gd name="T36" fmla="*/ 34 w 73"/>
              <a:gd name="T37" fmla="*/ 33 h 64"/>
              <a:gd name="T38" fmla="*/ 34 w 73"/>
              <a:gd name="T39" fmla="*/ 35 h 64"/>
              <a:gd name="T40" fmla="*/ 34 w 73"/>
              <a:gd name="T41" fmla="*/ 35 h 64"/>
              <a:gd name="T42" fmla="*/ 34 w 73"/>
              <a:gd name="T43" fmla="*/ 35 h 64"/>
              <a:gd name="T44" fmla="*/ 34 w 73"/>
              <a:gd name="T45" fmla="*/ 36 h 64"/>
              <a:gd name="T46" fmla="*/ 31 w 73"/>
              <a:gd name="T47" fmla="*/ 41 h 64"/>
              <a:gd name="T48" fmla="*/ 31 w 73"/>
              <a:gd name="T49" fmla="*/ 41 h 64"/>
              <a:gd name="T50" fmla="*/ 31 w 73"/>
              <a:gd name="T51" fmla="*/ 41 h 64"/>
              <a:gd name="T52" fmla="*/ 30 w 73"/>
              <a:gd name="T53" fmla="*/ 42 h 64"/>
              <a:gd name="T54" fmla="*/ 30 w 73"/>
              <a:gd name="T55" fmla="*/ 42 h 64"/>
              <a:gd name="T56" fmla="*/ 30 w 73"/>
              <a:gd name="T57" fmla="*/ 42 h 64"/>
              <a:gd name="T58" fmla="*/ 28 w 73"/>
              <a:gd name="T59" fmla="*/ 43 h 64"/>
              <a:gd name="T60" fmla="*/ 16 w 73"/>
              <a:gd name="T61" fmla="*/ 49 h 64"/>
              <a:gd name="T62" fmla="*/ 2 w 73"/>
              <a:gd name="T63" fmla="*/ 62 h 64"/>
              <a:gd name="T64" fmla="*/ 20 w 73"/>
              <a:gd name="T65" fmla="*/ 56 h 64"/>
              <a:gd name="T66" fmla="*/ 31 w 73"/>
              <a:gd name="T67" fmla="*/ 48 h 64"/>
              <a:gd name="T68" fmla="*/ 33 w 73"/>
              <a:gd name="T69" fmla="*/ 47 h 64"/>
              <a:gd name="T70" fmla="*/ 33 w 73"/>
              <a:gd name="T71" fmla="*/ 47 h 64"/>
              <a:gd name="T72" fmla="*/ 33 w 73"/>
              <a:gd name="T73" fmla="*/ 47 h 64"/>
              <a:gd name="T74" fmla="*/ 34 w 73"/>
              <a:gd name="T75" fmla="*/ 46 h 64"/>
              <a:gd name="T76" fmla="*/ 37 w 73"/>
              <a:gd name="T77" fmla="*/ 47 h 64"/>
              <a:gd name="T78" fmla="*/ 40 w 73"/>
              <a:gd name="T79" fmla="*/ 46 h 64"/>
              <a:gd name="T80" fmla="*/ 41 w 73"/>
              <a:gd name="T81" fmla="*/ 47 h 64"/>
              <a:gd name="T82" fmla="*/ 41 w 73"/>
              <a:gd name="T83" fmla="*/ 47 h 64"/>
              <a:gd name="T84" fmla="*/ 41 w 73"/>
              <a:gd name="T85" fmla="*/ 47 h 64"/>
              <a:gd name="T86" fmla="*/ 43 w 73"/>
              <a:gd name="T87" fmla="*/ 48 h 64"/>
              <a:gd name="T88" fmla="*/ 54 w 73"/>
              <a:gd name="T89" fmla="*/ 56 h 64"/>
              <a:gd name="T90" fmla="*/ 72 w 73"/>
              <a:gd name="T91" fmla="*/ 6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3" h="64">
                <a:moveTo>
                  <a:pt x="72" y="62"/>
                </a:moveTo>
                <a:cubicBezTo>
                  <a:pt x="73" y="60"/>
                  <a:pt x="67" y="54"/>
                  <a:pt x="58" y="49"/>
                </a:cubicBezTo>
                <a:cubicBezTo>
                  <a:pt x="53" y="46"/>
                  <a:pt x="49" y="44"/>
                  <a:pt x="46" y="43"/>
                </a:cubicBezTo>
                <a:cubicBezTo>
                  <a:pt x="44" y="42"/>
                  <a:pt x="44" y="42"/>
                  <a:pt x="44" y="42"/>
                </a:cubicBezTo>
                <a:cubicBezTo>
                  <a:pt x="44" y="42"/>
                  <a:pt x="44" y="42"/>
                  <a:pt x="44" y="42"/>
                </a:cubicBezTo>
                <a:cubicBezTo>
                  <a:pt x="44" y="42"/>
                  <a:pt x="44" y="42"/>
                  <a:pt x="44" y="42"/>
                </a:cubicBezTo>
                <a:cubicBezTo>
                  <a:pt x="43" y="42"/>
                  <a:pt x="43" y="41"/>
                  <a:pt x="42" y="41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39"/>
                  <a:pt x="41" y="37"/>
                  <a:pt x="39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40" y="36"/>
                  <a:pt x="40" y="35"/>
                  <a:pt x="40" y="35"/>
                </a:cubicBezTo>
                <a:cubicBezTo>
                  <a:pt x="40" y="35"/>
                  <a:pt x="40" y="35"/>
                  <a:pt x="40" y="35"/>
                </a:cubicBezTo>
                <a:cubicBezTo>
                  <a:pt x="40" y="35"/>
                  <a:pt x="40" y="35"/>
                  <a:pt x="40" y="35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29"/>
                  <a:pt x="41" y="24"/>
                  <a:pt x="41" y="19"/>
                </a:cubicBezTo>
                <a:cubicBezTo>
                  <a:pt x="41" y="9"/>
                  <a:pt x="39" y="0"/>
                  <a:pt x="37" y="0"/>
                </a:cubicBezTo>
                <a:cubicBezTo>
                  <a:pt x="35" y="0"/>
                  <a:pt x="33" y="9"/>
                  <a:pt x="33" y="19"/>
                </a:cubicBezTo>
                <a:cubicBezTo>
                  <a:pt x="33" y="24"/>
                  <a:pt x="33" y="29"/>
                  <a:pt x="34" y="33"/>
                </a:cubicBezTo>
                <a:cubicBezTo>
                  <a:pt x="34" y="35"/>
                  <a:pt x="34" y="35"/>
                  <a:pt x="34" y="35"/>
                </a:cubicBezTo>
                <a:cubicBezTo>
                  <a:pt x="34" y="35"/>
                  <a:pt x="34" y="35"/>
                  <a:pt x="34" y="35"/>
                </a:cubicBezTo>
                <a:cubicBezTo>
                  <a:pt x="34" y="35"/>
                  <a:pt x="34" y="35"/>
                  <a:pt x="34" y="35"/>
                </a:cubicBezTo>
                <a:cubicBezTo>
                  <a:pt x="34" y="35"/>
                  <a:pt x="34" y="36"/>
                  <a:pt x="34" y="36"/>
                </a:cubicBezTo>
                <a:cubicBezTo>
                  <a:pt x="33" y="37"/>
                  <a:pt x="31" y="39"/>
                  <a:pt x="31" y="41"/>
                </a:cubicBezTo>
                <a:cubicBezTo>
                  <a:pt x="31" y="41"/>
                  <a:pt x="31" y="41"/>
                  <a:pt x="31" y="41"/>
                </a:cubicBezTo>
                <a:cubicBezTo>
                  <a:pt x="31" y="41"/>
                  <a:pt x="31" y="41"/>
                  <a:pt x="31" y="41"/>
                </a:cubicBezTo>
                <a:cubicBezTo>
                  <a:pt x="31" y="41"/>
                  <a:pt x="30" y="42"/>
                  <a:pt x="30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28" y="43"/>
                  <a:pt x="28" y="43"/>
                  <a:pt x="28" y="43"/>
                </a:cubicBezTo>
                <a:cubicBezTo>
                  <a:pt x="25" y="44"/>
                  <a:pt x="20" y="46"/>
                  <a:pt x="16" y="49"/>
                </a:cubicBezTo>
                <a:cubicBezTo>
                  <a:pt x="7" y="54"/>
                  <a:pt x="0" y="60"/>
                  <a:pt x="2" y="62"/>
                </a:cubicBezTo>
                <a:cubicBezTo>
                  <a:pt x="3" y="64"/>
                  <a:pt x="11" y="61"/>
                  <a:pt x="20" y="56"/>
                </a:cubicBezTo>
                <a:cubicBezTo>
                  <a:pt x="24" y="53"/>
                  <a:pt x="28" y="50"/>
                  <a:pt x="31" y="48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7"/>
                  <a:pt x="34" y="46"/>
                  <a:pt x="34" y="46"/>
                </a:cubicBezTo>
                <a:cubicBezTo>
                  <a:pt x="35" y="46"/>
                  <a:pt x="36" y="47"/>
                  <a:pt x="37" y="47"/>
                </a:cubicBezTo>
                <a:cubicBezTo>
                  <a:pt x="38" y="47"/>
                  <a:pt x="39" y="46"/>
                  <a:pt x="40" y="46"/>
                </a:cubicBezTo>
                <a:cubicBezTo>
                  <a:pt x="40" y="46"/>
                  <a:pt x="40" y="47"/>
                  <a:pt x="41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3" y="48"/>
                  <a:pt x="43" y="48"/>
                  <a:pt x="43" y="48"/>
                </a:cubicBezTo>
                <a:cubicBezTo>
                  <a:pt x="45" y="50"/>
                  <a:pt x="49" y="53"/>
                  <a:pt x="54" y="56"/>
                </a:cubicBezTo>
                <a:cubicBezTo>
                  <a:pt x="63" y="61"/>
                  <a:pt x="71" y="64"/>
                  <a:pt x="72" y="62"/>
                </a:cubicBezTo>
              </a:path>
            </a:pathLst>
          </a:custGeom>
          <a:solidFill>
            <a:schemeClr val="accent2"/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0" name="任意多边形: 形状 39"/>
          <p:cNvSpPr/>
          <p:nvPr>
            <p:custDataLst>
              <p:tags r:id="rId2"/>
            </p:custDataLst>
          </p:nvPr>
        </p:nvSpPr>
        <p:spPr bwMode="auto">
          <a:xfrm>
            <a:off x="6456568" y="1911464"/>
            <a:ext cx="1273655" cy="1744644"/>
          </a:xfrm>
          <a:custGeom>
            <a:avLst/>
            <a:gdLst>
              <a:gd name="T0" fmla="*/ 26 w 27"/>
              <a:gd name="T1" fmla="*/ 28 h 37"/>
              <a:gd name="T2" fmla="*/ 23 w 27"/>
              <a:gd name="T3" fmla="*/ 27 h 37"/>
              <a:gd name="T4" fmla="*/ 2 w 27"/>
              <a:gd name="T5" fmla="*/ 0 h 37"/>
              <a:gd name="T6" fmla="*/ 0 w 27"/>
              <a:gd name="T7" fmla="*/ 1 h 37"/>
              <a:gd name="T8" fmla="*/ 1 w 27"/>
              <a:gd name="T9" fmla="*/ 3 h 37"/>
              <a:gd name="T10" fmla="*/ 20 w 27"/>
              <a:gd name="T11" fmla="*/ 27 h 37"/>
              <a:gd name="T12" fmla="*/ 18 w 27"/>
              <a:gd name="T13" fmla="*/ 27 h 37"/>
              <a:gd name="T14" fmla="*/ 17 w 27"/>
              <a:gd name="T15" fmla="*/ 27 h 37"/>
              <a:gd name="T16" fmla="*/ 16 w 27"/>
              <a:gd name="T17" fmla="*/ 29 h 37"/>
              <a:gd name="T18" fmla="*/ 20 w 27"/>
              <a:gd name="T19" fmla="*/ 36 h 37"/>
              <a:gd name="T20" fmla="*/ 21 w 27"/>
              <a:gd name="T21" fmla="*/ 37 h 37"/>
              <a:gd name="T22" fmla="*/ 22 w 27"/>
              <a:gd name="T23" fmla="*/ 36 h 37"/>
              <a:gd name="T24" fmla="*/ 27 w 27"/>
              <a:gd name="T25" fmla="*/ 3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7" h="37">
                <a:moveTo>
                  <a:pt x="26" y="28"/>
                </a:moveTo>
                <a:cubicBezTo>
                  <a:pt x="23" y="27"/>
                  <a:pt x="23" y="27"/>
                  <a:pt x="23" y="27"/>
                </a:cubicBezTo>
                <a:cubicBezTo>
                  <a:pt x="22" y="15"/>
                  <a:pt x="14" y="4"/>
                  <a:pt x="2" y="0"/>
                </a:cubicBezTo>
                <a:cubicBezTo>
                  <a:pt x="1" y="0"/>
                  <a:pt x="0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12" y="6"/>
                  <a:pt x="19" y="16"/>
                  <a:pt x="20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7" y="27"/>
                  <a:pt x="17" y="27"/>
                  <a:pt x="17" y="27"/>
                </a:cubicBezTo>
                <a:cubicBezTo>
                  <a:pt x="16" y="28"/>
                  <a:pt x="16" y="28"/>
                  <a:pt x="16" y="29"/>
                </a:cubicBezTo>
                <a:cubicBezTo>
                  <a:pt x="20" y="36"/>
                  <a:pt x="20" y="36"/>
                  <a:pt x="20" y="36"/>
                </a:cubicBezTo>
                <a:cubicBezTo>
                  <a:pt x="20" y="37"/>
                  <a:pt x="20" y="37"/>
                  <a:pt x="21" y="37"/>
                </a:cubicBezTo>
                <a:cubicBezTo>
                  <a:pt x="22" y="37"/>
                  <a:pt x="22" y="37"/>
                  <a:pt x="22" y="36"/>
                </a:cubicBezTo>
                <a:cubicBezTo>
                  <a:pt x="27" y="30"/>
                  <a:pt x="27" y="30"/>
                  <a:pt x="27" y="30"/>
                </a:cubicBezTo>
              </a:path>
            </a:pathLst>
          </a:custGeom>
          <a:solidFill>
            <a:schemeClr val="accent1">
              <a:lumMod val="85000"/>
            </a:schemeClr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1" name="任意多边形: 形状 40"/>
          <p:cNvSpPr/>
          <p:nvPr>
            <p:custDataLst>
              <p:tags r:id="rId3"/>
            </p:custDataLst>
          </p:nvPr>
        </p:nvSpPr>
        <p:spPr bwMode="auto">
          <a:xfrm>
            <a:off x="5136477" y="4219963"/>
            <a:ext cx="1976819" cy="524058"/>
          </a:xfrm>
          <a:custGeom>
            <a:avLst/>
            <a:gdLst>
              <a:gd name="T0" fmla="*/ 40 w 42"/>
              <a:gd name="T1" fmla="*/ 1 h 11"/>
              <a:gd name="T2" fmla="*/ 9 w 42"/>
              <a:gd name="T3" fmla="*/ 5 h 11"/>
              <a:gd name="T4" fmla="*/ 10 w 42"/>
              <a:gd name="T5" fmla="*/ 4 h 11"/>
              <a:gd name="T6" fmla="*/ 11 w 42"/>
              <a:gd name="T7" fmla="*/ 2 h 11"/>
              <a:gd name="T8" fmla="*/ 9 w 42"/>
              <a:gd name="T9" fmla="*/ 1 h 11"/>
              <a:gd name="T10" fmla="*/ 2 w 42"/>
              <a:gd name="T11" fmla="*/ 0 h 11"/>
              <a:gd name="T12" fmla="*/ 0 w 42"/>
              <a:gd name="T13" fmla="*/ 1 h 11"/>
              <a:gd name="T14" fmla="*/ 0 w 42"/>
              <a:gd name="T15" fmla="*/ 2 h 11"/>
              <a:gd name="T16" fmla="*/ 3 w 42"/>
              <a:gd name="T17" fmla="*/ 10 h 11"/>
              <a:gd name="T18" fmla="*/ 5 w 42"/>
              <a:gd name="T19" fmla="*/ 11 h 11"/>
              <a:gd name="T20" fmla="*/ 6 w 42"/>
              <a:gd name="T21" fmla="*/ 10 h 11"/>
              <a:gd name="T22" fmla="*/ 7 w 42"/>
              <a:gd name="T23" fmla="*/ 8 h 11"/>
              <a:gd name="T24" fmla="*/ 21 w 42"/>
              <a:gd name="T25" fmla="*/ 11 h 11"/>
              <a:gd name="T26" fmla="*/ 42 w 42"/>
              <a:gd name="T27" fmla="*/ 3 h 11"/>
              <a:gd name="T28" fmla="*/ 42 w 42"/>
              <a:gd name="T29" fmla="*/ 1 h 11"/>
              <a:gd name="T30" fmla="*/ 40 w 42"/>
              <a:gd name="T31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2" h="11">
                <a:moveTo>
                  <a:pt x="40" y="1"/>
                </a:moveTo>
                <a:cubicBezTo>
                  <a:pt x="31" y="8"/>
                  <a:pt x="19" y="10"/>
                  <a:pt x="9" y="5"/>
                </a:cubicBezTo>
                <a:cubicBezTo>
                  <a:pt x="10" y="4"/>
                  <a:pt x="10" y="4"/>
                  <a:pt x="10" y="4"/>
                </a:cubicBezTo>
                <a:cubicBezTo>
                  <a:pt x="11" y="3"/>
                  <a:pt x="11" y="2"/>
                  <a:pt x="11" y="2"/>
                </a:cubicBezTo>
                <a:cubicBezTo>
                  <a:pt x="10" y="1"/>
                  <a:pt x="10" y="1"/>
                  <a:pt x="9" y="1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1"/>
                </a:cubicBezTo>
                <a:cubicBezTo>
                  <a:pt x="0" y="1"/>
                  <a:pt x="0" y="2"/>
                  <a:pt x="0" y="2"/>
                </a:cubicBezTo>
                <a:cubicBezTo>
                  <a:pt x="3" y="10"/>
                  <a:pt x="3" y="10"/>
                  <a:pt x="3" y="10"/>
                </a:cubicBezTo>
                <a:cubicBezTo>
                  <a:pt x="3" y="10"/>
                  <a:pt x="4" y="11"/>
                  <a:pt x="5" y="11"/>
                </a:cubicBezTo>
                <a:cubicBezTo>
                  <a:pt x="5" y="11"/>
                  <a:pt x="6" y="10"/>
                  <a:pt x="6" y="10"/>
                </a:cubicBezTo>
                <a:cubicBezTo>
                  <a:pt x="7" y="8"/>
                  <a:pt x="7" y="8"/>
                  <a:pt x="7" y="8"/>
                </a:cubicBezTo>
                <a:cubicBezTo>
                  <a:pt x="12" y="10"/>
                  <a:pt x="16" y="11"/>
                  <a:pt x="21" y="11"/>
                </a:cubicBezTo>
                <a:cubicBezTo>
                  <a:pt x="28" y="11"/>
                  <a:pt x="36" y="8"/>
                  <a:pt x="42" y="3"/>
                </a:cubicBezTo>
                <a:cubicBezTo>
                  <a:pt x="42" y="2"/>
                  <a:pt x="42" y="1"/>
                  <a:pt x="42" y="1"/>
                </a:cubicBezTo>
                <a:cubicBezTo>
                  <a:pt x="41" y="0"/>
                  <a:pt x="40" y="0"/>
                  <a:pt x="40" y="1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42" name="任意多边形: 形状 41"/>
          <p:cNvSpPr/>
          <p:nvPr>
            <p:custDataLst>
              <p:tags r:id="rId4"/>
            </p:custDataLst>
          </p:nvPr>
        </p:nvSpPr>
        <p:spPr bwMode="auto">
          <a:xfrm>
            <a:off x="4572620" y="1865029"/>
            <a:ext cx="1220587" cy="1791077"/>
          </a:xfrm>
          <a:custGeom>
            <a:avLst/>
            <a:gdLst>
              <a:gd name="T0" fmla="*/ 4 w 26"/>
              <a:gd name="T1" fmla="*/ 38 h 38"/>
              <a:gd name="T2" fmla="*/ 5 w 26"/>
              <a:gd name="T3" fmla="*/ 38 h 38"/>
              <a:gd name="T4" fmla="*/ 6 w 26"/>
              <a:gd name="T5" fmla="*/ 36 h 38"/>
              <a:gd name="T6" fmla="*/ 17 w 26"/>
              <a:gd name="T7" fmla="*/ 8 h 38"/>
              <a:gd name="T8" fmla="*/ 18 w 26"/>
              <a:gd name="T9" fmla="*/ 10 h 38"/>
              <a:gd name="T10" fmla="*/ 19 w 26"/>
              <a:gd name="T11" fmla="*/ 11 h 38"/>
              <a:gd name="T12" fmla="*/ 21 w 26"/>
              <a:gd name="T13" fmla="*/ 10 h 38"/>
              <a:gd name="T14" fmla="*/ 25 w 26"/>
              <a:gd name="T15" fmla="*/ 4 h 38"/>
              <a:gd name="T16" fmla="*/ 25 w 26"/>
              <a:gd name="T17" fmla="*/ 2 h 38"/>
              <a:gd name="T18" fmla="*/ 24 w 26"/>
              <a:gd name="T19" fmla="*/ 1 h 38"/>
              <a:gd name="T20" fmla="*/ 16 w 26"/>
              <a:gd name="T21" fmla="*/ 1 h 38"/>
              <a:gd name="T22" fmla="*/ 15 w 26"/>
              <a:gd name="T23" fmla="*/ 1 h 38"/>
              <a:gd name="T24" fmla="*/ 15 w 26"/>
              <a:gd name="T25" fmla="*/ 3 h 38"/>
              <a:gd name="T26" fmla="*/ 16 w 26"/>
              <a:gd name="T27" fmla="*/ 5 h 38"/>
              <a:gd name="T28" fmla="*/ 3 w 26"/>
              <a:gd name="T29" fmla="*/ 37 h 38"/>
              <a:gd name="T30" fmla="*/ 4 w 26"/>
              <a:gd name="T31" fmla="*/ 38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6" h="38">
                <a:moveTo>
                  <a:pt x="4" y="38"/>
                </a:moveTo>
                <a:cubicBezTo>
                  <a:pt x="5" y="38"/>
                  <a:pt x="5" y="38"/>
                  <a:pt x="5" y="38"/>
                </a:cubicBezTo>
                <a:cubicBezTo>
                  <a:pt x="6" y="38"/>
                  <a:pt x="6" y="37"/>
                  <a:pt x="6" y="36"/>
                </a:cubicBezTo>
                <a:cubicBezTo>
                  <a:pt x="3" y="25"/>
                  <a:pt x="8" y="14"/>
                  <a:pt x="17" y="8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9" y="11"/>
                  <a:pt x="19" y="11"/>
                </a:cubicBezTo>
                <a:cubicBezTo>
                  <a:pt x="20" y="11"/>
                  <a:pt x="20" y="11"/>
                  <a:pt x="21" y="10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3"/>
                  <a:pt x="26" y="3"/>
                  <a:pt x="25" y="2"/>
                </a:cubicBezTo>
                <a:cubicBezTo>
                  <a:pt x="25" y="2"/>
                  <a:pt x="25" y="1"/>
                  <a:pt x="24" y="1"/>
                </a:cubicBezTo>
                <a:cubicBezTo>
                  <a:pt x="16" y="1"/>
                  <a:pt x="16" y="1"/>
                  <a:pt x="16" y="1"/>
                </a:cubicBezTo>
                <a:cubicBezTo>
                  <a:pt x="16" y="0"/>
                  <a:pt x="15" y="1"/>
                  <a:pt x="15" y="1"/>
                </a:cubicBezTo>
                <a:cubicBezTo>
                  <a:pt x="15" y="2"/>
                  <a:pt x="14" y="2"/>
                  <a:pt x="15" y="3"/>
                </a:cubicBezTo>
                <a:cubicBezTo>
                  <a:pt x="16" y="5"/>
                  <a:pt x="16" y="5"/>
                  <a:pt x="16" y="5"/>
                </a:cubicBezTo>
                <a:cubicBezTo>
                  <a:pt x="5" y="12"/>
                  <a:pt x="0" y="25"/>
                  <a:pt x="3" y="37"/>
                </a:cubicBezTo>
                <a:cubicBezTo>
                  <a:pt x="3" y="38"/>
                  <a:pt x="4" y="38"/>
                  <a:pt x="4" y="38"/>
                </a:cubicBezTo>
                <a:close/>
              </a:path>
            </a:pathLst>
          </a:custGeom>
          <a:solidFill>
            <a:schemeClr val="accent1">
              <a:lumMod val="85000"/>
            </a:schemeClr>
          </a:solidFill>
          <a:ln w="1111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37" name="文本框 36"/>
          <p:cNvSpPr txBox="1"/>
          <p:nvPr>
            <p:custDataLst>
              <p:tags r:id="rId5"/>
            </p:custDataLst>
          </p:nvPr>
        </p:nvSpPr>
        <p:spPr>
          <a:xfrm>
            <a:off x="1772588" y="2424951"/>
            <a:ext cx="26111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8" name="矩形 37"/>
          <p:cNvSpPr/>
          <p:nvPr>
            <p:custDataLst>
              <p:tags r:id="rId6"/>
            </p:custDataLst>
          </p:nvPr>
        </p:nvSpPr>
        <p:spPr>
          <a:xfrm>
            <a:off x="1772588" y="1917120"/>
            <a:ext cx="26111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5" name="文本框 34"/>
          <p:cNvSpPr txBox="1"/>
          <p:nvPr>
            <p:custDataLst>
              <p:tags r:id="rId7"/>
            </p:custDataLst>
          </p:nvPr>
        </p:nvSpPr>
        <p:spPr>
          <a:xfrm>
            <a:off x="4819299" y="5376685"/>
            <a:ext cx="26111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6" name="矩形 35"/>
          <p:cNvSpPr/>
          <p:nvPr>
            <p:custDataLst>
              <p:tags r:id="rId8"/>
            </p:custDataLst>
          </p:nvPr>
        </p:nvSpPr>
        <p:spPr>
          <a:xfrm>
            <a:off x="4819299" y="4868854"/>
            <a:ext cx="26111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3" name="文本框 32"/>
          <p:cNvSpPr txBox="1"/>
          <p:nvPr>
            <p:custDataLst>
              <p:tags r:id="rId9"/>
            </p:custDataLst>
          </p:nvPr>
        </p:nvSpPr>
        <p:spPr>
          <a:xfrm>
            <a:off x="7808235" y="2419295"/>
            <a:ext cx="26111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4" name="矩形 33"/>
          <p:cNvSpPr/>
          <p:nvPr>
            <p:custDataLst>
              <p:tags r:id="rId10"/>
            </p:custDataLst>
          </p:nvPr>
        </p:nvSpPr>
        <p:spPr>
          <a:xfrm>
            <a:off x="7808235" y="1911464"/>
            <a:ext cx="26111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r>
              <a:rPr lang="en-US" altLang="zh-CN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</a:p>
        </p:txBody>
      </p:sp>
      <p:sp>
        <p:nvSpPr>
          <p:cNvPr id="47" name="任意多边形: 形状 46"/>
          <p:cNvSpPr/>
          <p:nvPr>
            <p:custDataLst>
              <p:tags r:id="rId1"/>
            </p:custDataLst>
          </p:nvPr>
        </p:nvSpPr>
        <p:spPr>
          <a:xfrm>
            <a:off x="5171391" y="1748577"/>
            <a:ext cx="2787661" cy="12896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8" h="21033" extrusionOk="0">
                <a:moveTo>
                  <a:pt x="971" y="5974"/>
                </a:moveTo>
                <a:cubicBezTo>
                  <a:pt x="3506" y="8385"/>
                  <a:pt x="6310" y="9259"/>
                  <a:pt x="9067" y="8500"/>
                </a:cubicBezTo>
                <a:cubicBezTo>
                  <a:pt x="12027" y="7685"/>
                  <a:pt x="14803" y="5028"/>
                  <a:pt x="17042" y="868"/>
                </a:cubicBezTo>
                <a:cubicBezTo>
                  <a:pt x="17290" y="327"/>
                  <a:pt x="17629" y="15"/>
                  <a:pt x="17985" y="0"/>
                </a:cubicBezTo>
                <a:cubicBezTo>
                  <a:pt x="18343" y="-14"/>
                  <a:pt x="18690" y="274"/>
                  <a:pt x="18947" y="800"/>
                </a:cubicBezTo>
                <a:lnTo>
                  <a:pt x="21171" y="5725"/>
                </a:lnTo>
                <a:cubicBezTo>
                  <a:pt x="21381" y="6107"/>
                  <a:pt x="21519" y="6637"/>
                  <a:pt x="21557" y="7217"/>
                </a:cubicBezTo>
                <a:cubicBezTo>
                  <a:pt x="21587" y="7667"/>
                  <a:pt x="21556" y="8116"/>
                  <a:pt x="21480" y="8527"/>
                </a:cubicBezTo>
                <a:cubicBezTo>
                  <a:pt x="21396" y="8984"/>
                  <a:pt x="21257" y="9395"/>
                  <a:pt x="21070" y="9715"/>
                </a:cubicBezTo>
                <a:cubicBezTo>
                  <a:pt x="18821" y="13981"/>
                  <a:pt x="16159" y="17167"/>
                  <a:pt x="13268" y="19055"/>
                </a:cubicBezTo>
                <a:cubicBezTo>
                  <a:pt x="10067" y="21145"/>
                  <a:pt x="6675" y="21586"/>
                  <a:pt x="3376" y="20342"/>
                </a:cubicBezTo>
                <a:cubicBezTo>
                  <a:pt x="3113" y="20235"/>
                  <a:pt x="2869" y="19976"/>
                  <a:pt x="2672" y="19594"/>
                </a:cubicBezTo>
                <a:cubicBezTo>
                  <a:pt x="2447" y="19159"/>
                  <a:pt x="2292" y="18586"/>
                  <a:pt x="2231" y="17955"/>
                </a:cubicBezTo>
                <a:cubicBezTo>
                  <a:pt x="2003" y="16237"/>
                  <a:pt x="1721" y="14553"/>
                  <a:pt x="1388" y="12914"/>
                </a:cubicBezTo>
                <a:cubicBezTo>
                  <a:pt x="1028" y="11146"/>
                  <a:pt x="609" y="9434"/>
                  <a:pt x="134" y="7791"/>
                </a:cubicBezTo>
                <a:cubicBezTo>
                  <a:pt x="62" y="7574"/>
                  <a:pt x="20" y="7330"/>
                  <a:pt x="5" y="7082"/>
                </a:cubicBezTo>
                <a:cubicBezTo>
                  <a:pt x="-13" y="6762"/>
                  <a:pt x="15" y="6420"/>
                  <a:pt x="122" y="6161"/>
                </a:cubicBezTo>
                <a:cubicBezTo>
                  <a:pt x="227" y="5908"/>
                  <a:pt x="379" y="5804"/>
                  <a:pt x="529" y="5784"/>
                </a:cubicBezTo>
                <a:cubicBezTo>
                  <a:pt x="677" y="5764"/>
                  <a:pt x="830" y="5824"/>
                  <a:pt x="971" y="597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71437" tIns="71437" rIns="71437" bIns="71437" anchor="ctr"/>
          <a:lstStyle/>
          <a:p>
            <a:pPr algn="ctr">
              <a:defRPr sz="3200" cap="none">
                <a:solidFill>
                  <a:srgbClr val="000000"/>
                </a:solidFill>
              </a:defRPr>
            </a:pPr>
            <a:endParaRPr sz="18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48" name="任意多边形: 形状 47"/>
          <p:cNvSpPr/>
          <p:nvPr>
            <p:custDataLst>
              <p:tags r:id="rId2"/>
            </p:custDataLst>
          </p:nvPr>
        </p:nvSpPr>
        <p:spPr>
          <a:xfrm rot="16221438">
            <a:off x="3460082" y="2516232"/>
            <a:ext cx="2787661" cy="12896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8" h="21033" extrusionOk="0">
                <a:moveTo>
                  <a:pt x="971" y="5974"/>
                </a:moveTo>
                <a:cubicBezTo>
                  <a:pt x="3506" y="8385"/>
                  <a:pt x="6310" y="9259"/>
                  <a:pt x="9067" y="8500"/>
                </a:cubicBezTo>
                <a:cubicBezTo>
                  <a:pt x="12027" y="7685"/>
                  <a:pt x="14803" y="5028"/>
                  <a:pt x="17042" y="868"/>
                </a:cubicBezTo>
                <a:cubicBezTo>
                  <a:pt x="17290" y="327"/>
                  <a:pt x="17629" y="15"/>
                  <a:pt x="17985" y="0"/>
                </a:cubicBezTo>
                <a:cubicBezTo>
                  <a:pt x="18343" y="-14"/>
                  <a:pt x="18690" y="274"/>
                  <a:pt x="18947" y="800"/>
                </a:cubicBezTo>
                <a:lnTo>
                  <a:pt x="21171" y="5725"/>
                </a:lnTo>
                <a:cubicBezTo>
                  <a:pt x="21381" y="6107"/>
                  <a:pt x="21519" y="6637"/>
                  <a:pt x="21557" y="7217"/>
                </a:cubicBezTo>
                <a:cubicBezTo>
                  <a:pt x="21587" y="7667"/>
                  <a:pt x="21556" y="8116"/>
                  <a:pt x="21480" y="8527"/>
                </a:cubicBezTo>
                <a:cubicBezTo>
                  <a:pt x="21396" y="8984"/>
                  <a:pt x="21257" y="9395"/>
                  <a:pt x="21070" y="9715"/>
                </a:cubicBezTo>
                <a:cubicBezTo>
                  <a:pt x="18821" y="13981"/>
                  <a:pt x="16159" y="17167"/>
                  <a:pt x="13268" y="19055"/>
                </a:cubicBezTo>
                <a:cubicBezTo>
                  <a:pt x="10067" y="21145"/>
                  <a:pt x="6675" y="21586"/>
                  <a:pt x="3376" y="20342"/>
                </a:cubicBezTo>
                <a:cubicBezTo>
                  <a:pt x="3113" y="20235"/>
                  <a:pt x="2869" y="19976"/>
                  <a:pt x="2672" y="19594"/>
                </a:cubicBezTo>
                <a:cubicBezTo>
                  <a:pt x="2447" y="19159"/>
                  <a:pt x="2292" y="18586"/>
                  <a:pt x="2231" y="17955"/>
                </a:cubicBezTo>
                <a:cubicBezTo>
                  <a:pt x="2003" y="16237"/>
                  <a:pt x="1721" y="14553"/>
                  <a:pt x="1388" y="12914"/>
                </a:cubicBezTo>
                <a:cubicBezTo>
                  <a:pt x="1028" y="11146"/>
                  <a:pt x="609" y="9434"/>
                  <a:pt x="134" y="7791"/>
                </a:cubicBezTo>
                <a:cubicBezTo>
                  <a:pt x="62" y="7574"/>
                  <a:pt x="20" y="7330"/>
                  <a:pt x="5" y="7082"/>
                </a:cubicBezTo>
                <a:cubicBezTo>
                  <a:pt x="-13" y="6762"/>
                  <a:pt x="15" y="6420"/>
                  <a:pt x="122" y="6161"/>
                </a:cubicBezTo>
                <a:cubicBezTo>
                  <a:pt x="227" y="5908"/>
                  <a:pt x="379" y="5804"/>
                  <a:pt x="529" y="5784"/>
                </a:cubicBezTo>
                <a:cubicBezTo>
                  <a:pt x="677" y="5764"/>
                  <a:pt x="830" y="5824"/>
                  <a:pt x="971" y="5974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  <a:miter lim="400000"/>
          </a:ln>
        </p:spPr>
        <p:txBody>
          <a:bodyPr lIns="71437" tIns="71437" rIns="71437" bIns="71437" anchor="ctr"/>
          <a:lstStyle/>
          <a:p>
            <a:pPr algn="ctr">
              <a:defRPr sz="3200" cap="none">
                <a:solidFill>
                  <a:srgbClr val="000000"/>
                </a:solidFill>
              </a:defRPr>
            </a:pPr>
            <a:endParaRPr sz="18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49" name="任意多边形: 形状 48"/>
          <p:cNvSpPr/>
          <p:nvPr>
            <p:custDataLst>
              <p:tags r:id="rId3"/>
            </p:custDataLst>
          </p:nvPr>
        </p:nvSpPr>
        <p:spPr>
          <a:xfrm rot="10771382">
            <a:off x="4220247" y="4226210"/>
            <a:ext cx="2787661" cy="12896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8" h="21033" extrusionOk="0">
                <a:moveTo>
                  <a:pt x="971" y="5974"/>
                </a:moveTo>
                <a:cubicBezTo>
                  <a:pt x="3506" y="8385"/>
                  <a:pt x="6310" y="9259"/>
                  <a:pt x="9067" y="8500"/>
                </a:cubicBezTo>
                <a:cubicBezTo>
                  <a:pt x="12027" y="7685"/>
                  <a:pt x="14803" y="5028"/>
                  <a:pt x="17042" y="868"/>
                </a:cubicBezTo>
                <a:cubicBezTo>
                  <a:pt x="17290" y="327"/>
                  <a:pt x="17629" y="15"/>
                  <a:pt x="17985" y="0"/>
                </a:cubicBezTo>
                <a:cubicBezTo>
                  <a:pt x="18343" y="-14"/>
                  <a:pt x="18690" y="274"/>
                  <a:pt x="18947" y="800"/>
                </a:cubicBezTo>
                <a:lnTo>
                  <a:pt x="21171" y="5725"/>
                </a:lnTo>
                <a:cubicBezTo>
                  <a:pt x="21381" y="6107"/>
                  <a:pt x="21519" y="6637"/>
                  <a:pt x="21557" y="7217"/>
                </a:cubicBezTo>
                <a:cubicBezTo>
                  <a:pt x="21587" y="7667"/>
                  <a:pt x="21556" y="8116"/>
                  <a:pt x="21480" y="8527"/>
                </a:cubicBezTo>
                <a:cubicBezTo>
                  <a:pt x="21396" y="8984"/>
                  <a:pt x="21257" y="9395"/>
                  <a:pt x="21070" y="9715"/>
                </a:cubicBezTo>
                <a:cubicBezTo>
                  <a:pt x="18821" y="13981"/>
                  <a:pt x="16159" y="17167"/>
                  <a:pt x="13268" y="19055"/>
                </a:cubicBezTo>
                <a:cubicBezTo>
                  <a:pt x="10067" y="21145"/>
                  <a:pt x="6675" y="21586"/>
                  <a:pt x="3376" y="20342"/>
                </a:cubicBezTo>
                <a:cubicBezTo>
                  <a:pt x="3113" y="20235"/>
                  <a:pt x="2869" y="19976"/>
                  <a:pt x="2672" y="19594"/>
                </a:cubicBezTo>
                <a:cubicBezTo>
                  <a:pt x="2447" y="19159"/>
                  <a:pt x="2292" y="18586"/>
                  <a:pt x="2231" y="17955"/>
                </a:cubicBezTo>
                <a:cubicBezTo>
                  <a:pt x="2003" y="16237"/>
                  <a:pt x="1721" y="14553"/>
                  <a:pt x="1388" y="12914"/>
                </a:cubicBezTo>
                <a:cubicBezTo>
                  <a:pt x="1028" y="11146"/>
                  <a:pt x="609" y="9434"/>
                  <a:pt x="134" y="7791"/>
                </a:cubicBezTo>
                <a:cubicBezTo>
                  <a:pt x="62" y="7574"/>
                  <a:pt x="20" y="7330"/>
                  <a:pt x="5" y="7082"/>
                </a:cubicBezTo>
                <a:cubicBezTo>
                  <a:pt x="-13" y="6762"/>
                  <a:pt x="15" y="6420"/>
                  <a:pt x="122" y="6161"/>
                </a:cubicBezTo>
                <a:cubicBezTo>
                  <a:pt x="227" y="5908"/>
                  <a:pt x="379" y="5804"/>
                  <a:pt x="529" y="5784"/>
                </a:cubicBezTo>
                <a:cubicBezTo>
                  <a:pt x="677" y="5764"/>
                  <a:pt x="830" y="5824"/>
                  <a:pt x="971" y="597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71437" tIns="71437" rIns="71437" bIns="71437" anchor="ctr"/>
          <a:lstStyle/>
          <a:p>
            <a:pPr algn="ctr">
              <a:defRPr sz="3200" cap="none">
                <a:solidFill>
                  <a:srgbClr val="000000"/>
                </a:solidFill>
              </a:defRPr>
            </a:pPr>
            <a:endParaRPr sz="18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50" name="任意多边形: 形状 49"/>
          <p:cNvSpPr/>
          <p:nvPr>
            <p:custDataLst>
              <p:tags r:id="rId4"/>
            </p:custDataLst>
          </p:nvPr>
        </p:nvSpPr>
        <p:spPr>
          <a:xfrm rot="5419948">
            <a:off x="5931557" y="3451065"/>
            <a:ext cx="2787661" cy="12896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8" h="21033" extrusionOk="0">
                <a:moveTo>
                  <a:pt x="971" y="5974"/>
                </a:moveTo>
                <a:cubicBezTo>
                  <a:pt x="3506" y="8385"/>
                  <a:pt x="6310" y="9259"/>
                  <a:pt x="9067" y="8500"/>
                </a:cubicBezTo>
                <a:cubicBezTo>
                  <a:pt x="12027" y="7685"/>
                  <a:pt x="14803" y="5028"/>
                  <a:pt x="17042" y="868"/>
                </a:cubicBezTo>
                <a:cubicBezTo>
                  <a:pt x="17290" y="327"/>
                  <a:pt x="17629" y="15"/>
                  <a:pt x="17985" y="0"/>
                </a:cubicBezTo>
                <a:cubicBezTo>
                  <a:pt x="18343" y="-14"/>
                  <a:pt x="18690" y="274"/>
                  <a:pt x="18947" y="800"/>
                </a:cubicBezTo>
                <a:lnTo>
                  <a:pt x="21171" y="5725"/>
                </a:lnTo>
                <a:cubicBezTo>
                  <a:pt x="21381" y="6107"/>
                  <a:pt x="21519" y="6637"/>
                  <a:pt x="21557" y="7217"/>
                </a:cubicBezTo>
                <a:cubicBezTo>
                  <a:pt x="21587" y="7667"/>
                  <a:pt x="21556" y="8116"/>
                  <a:pt x="21480" y="8527"/>
                </a:cubicBezTo>
                <a:cubicBezTo>
                  <a:pt x="21396" y="8984"/>
                  <a:pt x="21257" y="9395"/>
                  <a:pt x="21070" y="9715"/>
                </a:cubicBezTo>
                <a:cubicBezTo>
                  <a:pt x="18821" y="13981"/>
                  <a:pt x="16159" y="17167"/>
                  <a:pt x="13268" y="19055"/>
                </a:cubicBezTo>
                <a:cubicBezTo>
                  <a:pt x="10067" y="21145"/>
                  <a:pt x="6675" y="21586"/>
                  <a:pt x="3376" y="20342"/>
                </a:cubicBezTo>
                <a:cubicBezTo>
                  <a:pt x="3113" y="20235"/>
                  <a:pt x="2869" y="19976"/>
                  <a:pt x="2672" y="19594"/>
                </a:cubicBezTo>
                <a:cubicBezTo>
                  <a:pt x="2447" y="19159"/>
                  <a:pt x="2292" y="18586"/>
                  <a:pt x="2231" y="17955"/>
                </a:cubicBezTo>
                <a:cubicBezTo>
                  <a:pt x="2003" y="16237"/>
                  <a:pt x="1721" y="14553"/>
                  <a:pt x="1388" y="12914"/>
                </a:cubicBezTo>
                <a:cubicBezTo>
                  <a:pt x="1028" y="11146"/>
                  <a:pt x="609" y="9434"/>
                  <a:pt x="134" y="7791"/>
                </a:cubicBezTo>
                <a:cubicBezTo>
                  <a:pt x="62" y="7574"/>
                  <a:pt x="20" y="7330"/>
                  <a:pt x="5" y="7082"/>
                </a:cubicBezTo>
                <a:cubicBezTo>
                  <a:pt x="-13" y="6762"/>
                  <a:pt x="15" y="6420"/>
                  <a:pt x="122" y="6161"/>
                </a:cubicBezTo>
                <a:cubicBezTo>
                  <a:pt x="227" y="5908"/>
                  <a:pt x="379" y="5804"/>
                  <a:pt x="529" y="5784"/>
                </a:cubicBezTo>
                <a:cubicBezTo>
                  <a:pt x="677" y="5764"/>
                  <a:pt x="830" y="5824"/>
                  <a:pt x="971" y="597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71437" tIns="71437" rIns="71437" bIns="71437" anchor="ctr"/>
          <a:lstStyle/>
          <a:p>
            <a:pPr algn="ctr">
              <a:defRPr sz="3200" cap="none">
                <a:solidFill>
                  <a:srgbClr val="000000"/>
                </a:solidFill>
              </a:defRPr>
            </a:pPr>
            <a:endParaRPr sz="18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4384394" y="1907867"/>
            <a:ext cx="637012" cy="586957"/>
          </a:xfrm>
          <a:prstGeom prst="rect">
            <a:avLst/>
          </a:prstGeom>
          <a:ln w="12700">
            <a:miter lim="400000"/>
          </a:ln>
        </p:spPr>
        <p:txBody>
          <a:bodyPr wrap="square" lIns="90000" tIns="46800" rIns="90000" bIns="46800" anchor="ctr">
            <a:normAutofit/>
          </a:bodyPr>
          <a:lstStyle>
            <a:lvl1pPr algn="r">
              <a:defRPr sz="4400" b="1" cap="none">
                <a:solidFill>
                  <a:srgbClr val="FFFFFF"/>
                </a:solidFill>
              </a:defRPr>
            </a:lvl1pPr>
          </a:lstStyle>
          <a:p>
            <a:r>
              <a:rPr sz="3200" dirty="0">
                <a:solidFill>
                  <a:srgbClr val="FFFFFF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52" name="矩形 51"/>
          <p:cNvSpPr/>
          <p:nvPr>
            <p:custDataLst>
              <p:tags r:id="rId5"/>
            </p:custDataLst>
          </p:nvPr>
        </p:nvSpPr>
        <p:spPr>
          <a:xfrm>
            <a:off x="7149320" y="1907867"/>
            <a:ext cx="637012" cy="586957"/>
          </a:xfrm>
          <a:prstGeom prst="rect">
            <a:avLst/>
          </a:prstGeom>
          <a:ln w="12700">
            <a:miter lim="400000"/>
          </a:ln>
        </p:spPr>
        <p:txBody>
          <a:bodyPr wrap="square" lIns="90000" tIns="46800" rIns="90000" bIns="46800" anchor="ctr">
            <a:normAutofit/>
          </a:bodyPr>
          <a:lstStyle>
            <a:lvl1pPr algn="r">
              <a:defRPr sz="4400" b="1" cap="none">
                <a:solidFill>
                  <a:srgbClr val="FFFFFF"/>
                </a:solidFill>
              </a:defRPr>
            </a:lvl1pPr>
          </a:lstStyle>
          <a:p>
            <a:r>
              <a:rPr sz="3200" dirty="0">
                <a:solidFill>
                  <a:srgbClr val="FFFFFF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53" name="矩形 52"/>
          <p:cNvSpPr/>
          <p:nvPr>
            <p:custDataLst>
              <p:tags r:id="rId6"/>
            </p:custDataLst>
          </p:nvPr>
        </p:nvSpPr>
        <p:spPr>
          <a:xfrm>
            <a:off x="7201765" y="4702966"/>
            <a:ext cx="637012" cy="586957"/>
          </a:xfrm>
          <a:prstGeom prst="rect">
            <a:avLst/>
          </a:prstGeom>
          <a:ln w="12700">
            <a:miter lim="400000"/>
          </a:ln>
        </p:spPr>
        <p:txBody>
          <a:bodyPr wrap="square" lIns="90000" tIns="46800" rIns="90000" bIns="46800" anchor="ctr">
            <a:normAutofit/>
          </a:bodyPr>
          <a:lstStyle>
            <a:lvl1pPr algn="r">
              <a:defRPr sz="4400" b="1" cap="none">
                <a:solidFill>
                  <a:srgbClr val="FFFFFF"/>
                </a:solidFill>
              </a:defRPr>
            </a:lvl1pPr>
          </a:lstStyle>
          <a:p>
            <a:r>
              <a:rPr sz="3200" dirty="0">
                <a:solidFill>
                  <a:srgbClr val="FFFFFF"/>
                </a:solidFill>
                <a:cs typeface="+mn-ea"/>
                <a:sym typeface="+mn-lt"/>
              </a:rPr>
              <a:t>03</a:t>
            </a:r>
          </a:p>
        </p:txBody>
      </p:sp>
      <p:sp>
        <p:nvSpPr>
          <p:cNvPr id="54" name="矩形 53"/>
          <p:cNvSpPr/>
          <p:nvPr>
            <p:custDataLst>
              <p:tags r:id="rId7"/>
            </p:custDataLst>
          </p:nvPr>
        </p:nvSpPr>
        <p:spPr>
          <a:xfrm>
            <a:off x="4384394" y="4749654"/>
            <a:ext cx="637012" cy="586957"/>
          </a:xfrm>
          <a:prstGeom prst="rect">
            <a:avLst/>
          </a:prstGeom>
          <a:ln w="12700">
            <a:miter lim="400000"/>
          </a:ln>
        </p:spPr>
        <p:txBody>
          <a:bodyPr wrap="square" lIns="90000" tIns="46800" rIns="90000" bIns="46800" anchor="ctr">
            <a:normAutofit/>
          </a:bodyPr>
          <a:lstStyle>
            <a:lvl1pPr algn="r">
              <a:defRPr sz="4400" b="1" cap="none">
                <a:solidFill>
                  <a:srgbClr val="FFFFFF"/>
                </a:solidFill>
              </a:defRPr>
            </a:lvl1pPr>
          </a:lstStyle>
          <a:p>
            <a:r>
              <a:rPr sz="3200" dirty="0">
                <a:solidFill>
                  <a:srgbClr val="FFFFFF"/>
                </a:solidFill>
                <a:cs typeface="+mn-ea"/>
                <a:sym typeface="+mn-lt"/>
              </a:rPr>
              <a:t>04</a:t>
            </a:r>
          </a:p>
        </p:txBody>
      </p:sp>
      <p:sp>
        <p:nvSpPr>
          <p:cNvPr id="45" name="矩形 44"/>
          <p:cNvSpPr/>
          <p:nvPr>
            <p:custDataLst>
              <p:tags r:id="rId8"/>
            </p:custDataLst>
          </p:nvPr>
        </p:nvSpPr>
        <p:spPr bwMode="auto">
          <a:xfrm>
            <a:off x="8489335" y="4228307"/>
            <a:ext cx="303115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46" name="文本框 45"/>
          <p:cNvSpPr txBox="1"/>
          <p:nvPr>
            <p:custDataLst>
              <p:tags r:id="rId9"/>
            </p:custDataLst>
          </p:nvPr>
        </p:nvSpPr>
        <p:spPr bwMode="auto">
          <a:xfrm>
            <a:off x="8489335" y="3840709"/>
            <a:ext cx="303115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3" name="矩形 42"/>
          <p:cNvSpPr/>
          <p:nvPr>
            <p:custDataLst>
              <p:tags r:id="rId10"/>
            </p:custDataLst>
          </p:nvPr>
        </p:nvSpPr>
        <p:spPr bwMode="auto">
          <a:xfrm>
            <a:off x="8489335" y="2712100"/>
            <a:ext cx="303115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44" name="文本框 43"/>
          <p:cNvSpPr txBox="1"/>
          <p:nvPr>
            <p:custDataLst>
              <p:tags r:id="rId11"/>
            </p:custDataLst>
          </p:nvPr>
        </p:nvSpPr>
        <p:spPr bwMode="auto">
          <a:xfrm>
            <a:off x="8489335" y="2324502"/>
            <a:ext cx="303115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1" name="矩形 40"/>
          <p:cNvSpPr/>
          <p:nvPr>
            <p:custDataLst>
              <p:tags r:id="rId12"/>
            </p:custDataLst>
          </p:nvPr>
        </p:nvSpPr>
        <p:spPr bwMode="auto">
          <a:xfrm>
            <a:off x="673100" y="4228307"/>
            <a:ext cx="303115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42" name="文本框 41"/>
          <p:cNvSpPr txBox="1"/>
          <p:nvPr>
            <p:custDataLst>
              <p:tags r:id="rId13"/>
            </p:custDataLst>
          </p:nvPr>
        </p:nvSpPr>
        <p:spPr bwMode="auto">
          <a:xfrm>
            <a:off x="673100" y="3840709"/>
            <a:ext cx="303115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9" name="矩形 38"/>
          <p:cNvSpPr/>
          <p:nvPr>
            <p:custDataLst>
              <p:tags r:id="rId14"/>
            </p:custDataLst>
          </p:nvPr>
        </p:nvSpPr>
        <p:spPr bwMode="auto">
          <a:xfrm>
            <a:off x="673100" y="2712100"/>
            <a:ext cx="303115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chemeClr val="dk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40" name="文本框 39"/>
          <p:cNvSpPr txBox="1"/>
          <p:nvPr>
            <p:custDataLst>
              <p:tags r:id="rId15"/>
            </p:custDataLst>
          </p:nvPr>
        </p:nvSpPr>
        <p:spPr bwMode="auto">
          <a:xfrm>
            <a:off x="673100" y="2324502"/>
            <a:ext cx="303115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dk1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36" name="直接连接符 35"/>
          <p:cNvCxnSpPr/>
          <p:nvPr>
            <p:custDataLst>
              <p:tags r:id="rId16"/>
            </p:custDataLst>
          </p:nvPr>
        </p:nvCxnSpPr>
        <p:spPr>
          <a:xfrm>
            <a:off x="669925" y="3580411"/>
            <a:ext cx="2822305" cy="0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>
            <p:custDataLst>
              <p:tags r:id="rId17"/>
            </p:custDataLst>
          </p:nvPr>
        </p:nvCxnSpPr>
        <p:spPr>
          <a:xfrm>
            <a:off x="8696595" y="3580411"/>
            <a:ext cx="2822305" cy="0"/>
          </a:xfrm>
          <a:prstGeom prst="line">
            <a:avLst/>
          </a:prstGeom>
          <a:ln w="3175"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任意多边形: 形状 37"/>
          <p:cNvSpPr/>
          <p:nvPr>
            <p:custDataLst>
              <p:tags r:id="rId18"/>
            </p:custDataLst>
          </p:nvPr>
        </p:nvSpPr>
        <p:spPr bwMode="auto">
          <a:xfrm>
            <a:off x="5660806" y="3290053"/>
            <a:ext cx="857690" cy="684296"/>
          </a:xfrm>
          <a:custGeom>
            <a:avLst/>
            <a:gdLst>
              <a:gd name="connsiteX0" fmla="*/ 304307 w 608683"/>
              <a:gd name="connsiteY0" fmla="*/ 303502 h 485632"/>
              <a:gd name="connsiteX1" fmla="*/ 395478 w 608683"/>
              <a:gd name="connsiteY1" fmla="*/ 394567 h 485632"/>
              <a:gd name="connsiteX2" fmla="*/ 304307 w 608683"/>
              <a:gd name="connsiteY2" fmla="*/ 485632 h 485632"/>
              <a:gd name="connsiteX3" fmla="*/ 213136 w 608683"/>
              <a:gd name="connsiteY3" fmla="*/ 394567 h 485632"/>
              <a:gd name="connsiteX4" fmla="*/ 304307 w 608683"/>
              <a:gd name="connsiteY4" fmla="*/ 303502 h 485632"/>
              <a:gd name="connsiteX5" fmla="*/ 304342 w 608683"/>
              <a:gd name="connsiteY5" fmla="*/ 151786 h 485632"/>
              <a:gd name="connsiteX6" fmla="*/ 502318 w 608683"/>
              <a:gd name="connsiteY6" fmla="*/ 253545 h 485632"/>
              <a:gd name="connsiteX7" fmla="*/ 492919 w 608683"/>
              <a:gd name="connsiteY7" fmla="*/ 310012 h 485632"/>
              <a:gd name="connsiteX8" fmla="*/ 469346 w 608683"/>
              <a:gd name="connsiteY8" fmla="*/ 317610 h 485632"/>
              <a:gd name="connsiteX9" fmla="*/ 436375 w 608683"/>
              <a:gd name="connsiteY9" fmla="*/ 300625 h 485632"/>
              <a:gd name="connsiteX10" fmla="*/ 304342 w 608683"/>
              <a:gd name="connsiteY10" fmla="*/ 232687 h 485632"/>
              <a:gd name="connsiteX11" fmla="*/ 172309 w 608683"/>
              <a:gd name="connsiteY11" fmla="*/ 300625 h 485632"/>
              <a:gd name="connsiteX12" fmla="*/ 115766 w 608683"/>
              <a:gd name="connsiteY12" fmla="*/ 310012 h 485632"/>
              <a:gd name="connsiteX13" fmla="*/ 106367 w 608683"/>
              <a:gd name="connsiteY13" fmla="*/ 253545 h 485632"/>
              <a:gd name="connsiteX14" fmla="*/ 304342 w 608683"/>
              <a:gd name="connsiteY14" fmla="*/ 151786 h 485632"/>
              <a:gd name="connsiteX15" fmla="*/ 304342 w 608683"/>
              <a:gd name="connsiteY15" fmla="*/ 0 h 485632"/>
              <a:gd name="connsiteX16" fmla="*/ 598323 w 608683"/>
              <a:gd name="connsiteY16" fmla="*/ 130926 h 485632"/>
              <a:gd name="connsiteX17" fmla="*/ 595265 w 608683"/>
              <a:gd name="connsiteY17" fmla="*/ 188048 h 485632"/>
              <a:gd name="connsiteX18" fmla="*/ 538050 w 608683"/>
              <a:gd name="connsiteY18" fmla="*/ 184994 h 485632"/>
              <a:gd name="connsiteX19" fmla="*/ 304342 w 608683"/>
              <a:gd name="connsiteY19" fmla="*/ 80954 h 485632"/>
              <a:gd name="connsiteX20" fmla="*/ 70634 w 608683"/>
              <a:gd name="connsiteY20" fmla="*/ 184994 h 485632"/>
              <a:gd name="connsiteX21" fmla="*/ 40498 w 608683"/>
              <a:gd name="connsiteY21" fmla="*/ 198474 h 485632"/>
              <a:gd name="connsiteX22" fmla="*/ 13420 w 608683"/>
              <a:gd name="connsiteY22" fmla="*/ 188048 h 485632"/>
              <a:gd name="connsiteX23" fmla="*/ 10361 w 608683"/>
              <a:gd name="connsiteY23" fmla="*/ 130926 h 485632"/>
              <a:gd name="connsiteX24" fmla="*/ 304342 w 608683"/>
              <a:gd name="connsiteY24" fmla="*/ 0 h 485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08683" h="485632">
                <a:moveTo>
                  <a:pt x="304307" y="303502"/>
                </a:moveTo>
                <a:cubicBezTo>
                  <a:pt x="354659" y="303502"/>
                  <a:pt x="395478" y="344273"/>
                  <a:pt x="395478" y="394567"/>
                </a:cubicBezTo>
                <a:cubicBezTo>
                  <a:pt x="395478" y="444861"/>
                  <a:pt x="354659" y="485632"/>
                  <a:pt x="304307" y="485632"/>
                </a:cubicBezTo>
                <a:cubicBezTo>
                  <a:pt x="253955" y="485632"/>
                  <a:pt x="213136" y="444861"/>
                  <a:pt x="213136" y="394567"/>
                </a:cubicBezTo>
                <a:cubicBezTo>
                  <a:pt x="213136" y="344273"/>
                  <a:pt x="253955" y="303502"/>
                  <a:pt x="304307" y="303502"/>
                </a:cubicBezTo>
                <a:close/>
                <a:moveTo>
                  <a:pt x="304342" y="151786"/>
                </a:moveTo>
                <a:cubicBezTo>
                  <a:pt x="382667" y="151786"/>
                  <a:pt x="456740" y="189853"/>
                  <a:pt x="502318" y="253545"/>
                </a:cubicBezTo>
                <a:cubicBezTo>
                  <a:pt x="515297" y="271796"/>
                  <a:pt x="511120" y="297050"/>
                  <a:pt x="492919" y="310012"/>
                </a:cubicBezTo>
                <a:cubicBezTo>
                  <a:pt x="485757" y="315152"/>
                  <a:pt x="477552" y="317610"/>
                  <a:pt x="469346" y="317610"/>
                </a:cubicBezTo>
                <a:cubicBezTo>
                  <a:pt x="456740" y="317610"/>
                  <a:pt x="444283" y="311650"/>
                  <a:pt x="436375" y="300625"/>
                </a:cubicBezTo>
                <a:cubicBezTo>
                  <a:pt x="405941" y="258089"/>
                  <a:pt x="356559" y="232687"/>
                  <a:pt x="304342" y="232687"/>
                </a:cubicBezTo>
                <a:cubicBezTo>
                  <a:pt x="252125" y="232687"/>
                  <a:pt x="202744" y="258089"/>
                  <a:pt x="172309" y="300625"/>
                </a:cubicBezTo>
                <a:cubicBezTo>
                  <a:pt x="159329" y="318802"/>
                  <a:pt x="133967" y="323048"/>
                  <a:pt x="115766" y="310012"/>
                </a:cubicBezTo>
                <a:cubicBezTo>
                  <a:pt x="97564" y="297050"/>
                  <a:pt x="93387" y="271796"/>
                  <a:pt x="106367" y="253545"/>
                </a:cubicBezTo>
                <a:cubicBezTo>
                  <a:pt x="151944" y="189853"/>
                  <a:pt x="226017" y="151786"/>
                  <a:pt x="304342" y="151786"/>
                </a:cubicBezTo>
                <a:close/>
                <a:moveTo>
                  <a:pt x="304342" y="0"/>
                </a:moveTo>
                <a:cubicBezTo>
                  <a:pt x="416310" y="0"/>
                  <a:pt x="523429" y="47738"/>
                  <a:pt x="598323" y="130926"/>
                </a:cubicBezTo>
                <a:cubicBezTo>
                  <a:pt x="613242" y="147534"/>
                  <a:pt x="611899" y="173153"/>
                  <a:pt x="595265" y="188048"/>
                </a:cubicBezTo>
                <a:cubicBezTo>
                  <a:pt x="578630" y="203017"/>
                  <a:pt x="552969" y="201602"/>
                  <a:pt x="538050" y="184994"/>
                </a:cubicBezTo>
                <a:cubicBezTo>
                  <a:pt x="478523" y="118861"/>
                  <a:pt x="393335" y="80954"/>
                  <a:pt x="304342" y="80954"/>
                </a:cubicBezTo>
                <a:cubicBezTo>
                  <a:pt x="215350" y="80954"/>
                  <a:pt x="130236" y="118861"/>
                  <a:pt x="70634" y="184994"/>
                </a:cubicBezTo>
                <a:cubicBezTo>
                  <a:pt x="62653" y="193931"/>
                  <a:pt x="51612" y="198400"/>
                  <a:pt x="40498" y="198474"/>
                </a:cubicBezTo>
                <a:cubicBezTo>
                  <a:pt x="30875" y="198474"/>
                  <a:pt x="21178" y="195048"/>
                  <a:pt x="13420" y="188048"/>
                </a:cubicBezTo>
                <a:cubicBezTo>
                  <a:pt x="-3215" y="173153"/>
                  <a:pt x="-4558" y="147534"/>
                  <a:pt x="10361" y="130926"/>
                </a:cubicBezTo>
                <a:cubicBezTo>
                  <a:pt x="85255" y="47738"/>
                  <a:pt x="192374" y="0"/>
                  <a:pt x="304342" y="0"/>
                </a:cubicBezTo>
                <a:close/>
              </a:path>
            </a:pathLst>
          </a:custGeom>
          <a:solidFill>
            <a:schemeClr val="lt1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solidFill>
                <a:schemeClr val="dk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5c129978-1ed4-4bff-bbf1-0348d1a75716"/>
  <p:tag name="KSO_WPP_MARK_KEY" val="4a0abed8-662f-4bae-9551-3e0011df2f20"/>
  <p:tag name="COMMONDATA" val="eyJoZGlkIjoiYjIwNjZlNmE2MTI4ZDA1MWU1NzkzNGU2MmI0ZTNjNzY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  <p:tag name="KSO_WM_UNIT_FILL_FORE_SCHEMECOLOR_INDEX_BRIGHTNESS" val="0"/>
  <p:tag name="KSO_WM_UNIT_FILL_FORE_SCHEMECOLOR_INDEX" val="8"/>
  <p:tag name="KSO_WM_UNIT_FILL_TYPE" val="1"/>
  <p:tag name="KSO_WM_UNIT_LINE_FORE_SCHEMECOLOR_INDEX_BRIGHTNESS" val="0"/>
  <p:tag name="KSO_WM_UNIT_LINE_FORE_SCHEMECOLOR_INDEX" val="5"/>
  <p:tag name="KSO_WM_UNIT_LINE_FILL_TYPE" val="2"/>
  <p:tag name="KSO_WM_UNIT_TEXT_FILL_FORE_SCHEMECOLOR_INDEX_BRIGHTNESS" val="0"/>
  <p:tag name="KSO_WM_UNIT_TEXT_FILL_FORE_SCHEMECOLOR_INDEX" val="2"/>
  <p:tag name="KSO_WM_UNIT_TEXT_FILL_TYPE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5;#438741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5"/>
  <p:tag name="KSO_WM_UNIT_TEXT_FILL_TYPE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2;#438745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0"/>
  <p:tag name="KSO_WM_UNIT_LINE_FORE_SCHEMECOLOR_INDEX" val="6"/>
  <p:tag name="KSO_WM_UNIT_LINE_FILL_TYP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-0.05"/>
  <p:tag name="KSO_WM_UNIT_LINE_FORE_SCHEMECOLOR_INDEX" val="7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-0.05"/>
  <p:tag name="KSO_WM_UNIT_LINE_FORE_SCHEMECOLOR_INDEX" val="7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-0.05"/>
  <p:tag name="KSO_WM_UNIT_LINE_FORE_SCHEMECOLOR_INDEX" val="7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7;#438746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4;#438745;#438747;#438746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2;#438741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707,&quot;width&quot;:1061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LINE_FORE_SCHEMECOLOR_INDEX_BRIGHTNESS" val="0"/>
  <p:tag name="KSO_WM_UNIT_LINE_FORE_SCHEMECOLOR_INDEX" val="14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4;#438745;#438747;#438746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77794;"/>
  <p:tag name="ISLIDE.ICON" val="#438750;#438748;#438746;#438744;#438749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35"/>
  <p:tag name="KSO_WM_UNIT_FILL_FORE_SCHEMECOLOR_INDEX" val="14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35"/>
  <p:tag name="KSO_WM_UNIT_FILL_FORE_SCHEMECOLOR_INDEX" val="14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3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3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3;#438747;#438750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0"/>
  <p:tag name="KSO_WM_UNIT_LINE_FORE_SCHEMECOLOR_INDEX" val="6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0"/>
  <p:tag name="KSO_WM_UNIT_LINE_FORE_SCHEMECOLOR_INDEX" val="6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7;#438741;#438742;#438743;#438745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0"/>
  <p:tag name="KSO_WM_UNIT_LINE_FORE_SCHEMECOLOR_INDEX" val="6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0"/>
  <p:tag name="KSO_WM_UNIT_LINE_FORE_SCHEMECOLOR_INDEX" val="9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0"/>
  <p:tag name="KSO_WM_UNIT_LINE_FORE_SCHEMECOLOR_INDEX" val="10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5;#438741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5"/>
  <p:tag name="KSO_WM_UNIT_TEXT_FILL_FORE_SCHEMECOLOR_INDEX" val="13"/>
  <p:tag name="KSO_WM_UNIT_TEXT_FILL_TYP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2;#438742;#438741;#438743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8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8"/>
  <p:tag name="KSO_WM_UNIT_FILL_TYPE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4"/>
  <p:tag name="KSO_WM_UNIT_TEXT_FILL_TYPE" val="1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2;#438762;#438741;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5"/>
  <p:tag name="KSO_WM_UNIT_TEXT_FILL_TYPE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5"/>
  <p:tag name="KSO_WM_UNIT_TEXT_FILL_TYPE" val="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50;#438747;#438741;#438745;#438748;#438744;#438746;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707,&quot;width&quot;:1061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8169;#420270;#420271;#420272;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0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5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4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1"/>
  <p:tag name="KSO_WM_UNIT_FILL_FORE_SCHEMECOLOR_INDEX" val="5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6"/>
  <p:tag name="KSO_WM_UNIT_FILL_TYPE" val="1"/>
  <p:tag name="KSO_WM_UNIT_TEXT_FILL_FORE_SCHEMECOLOR_INDEX_BRIGHTNESS" val="0"/>
  <p:tag name="KSO_WM_UNIT_TEXT_FILL_FORE_SCHEMECOLOR_INDEX" val="14"/>
  <p:tag name="KSO_WM_UNIT_TEXT_FILL_TYPE" val="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"/>
  <p:tag name="KSO_WM_UNIT_TEXT_FILL_TYPE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"/>
  <p:tag name="KSO_WM_UNIT_TEXT_FILL_TYPE" val="1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"/>
  <p:tag name="KSO_WM_UNIT_TEXT_FILL_TYPE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"/>
  <p:tag name="KSO_WM_UNIT_TEXT_FILL_TYPE" val="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"/>
  <p:tag name="KSO_WM_UNIT_TEXT_FILL_TYPE" val="1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"/>
  <p:tag name="KSO_WM_UNIT_TEXT_FILL_TYPE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6;#438750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LINE_FORE_SCHEMECOLOR_INDEX_BRIGHTNESS" val="-0.05"/>
  <p:tag name="KSO_WM_UNIT_LINE_FORE_SCHEMECOLOR_INDEX" val="7"/>
  <p:tag name="KSO_WM_UNIT_LINE_FILL_TYPE" val="2"/>
  <p:tag name="KSO_WM_UNIT_TEXT_FILL_FORE_SCHEMECOLOR_INDEX_BRIGHTNESS" val="0"/>
  <p:tag name="KSO_WM_UNIT_TEXT_FILL_FORE_SCHEMECOLOR_INDEX" val="2"/>
  <p:tag name="KSO_WM_UNIT_TEXT_FILL_TYPE" val="1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63;#438768;#438742;#438743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15"/>
  <p:tag name="KSO_WM_UNIT_LINE_FORE_SCHEMECOLOR_INDEX" val="5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9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50;#438746;#438741;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5;#438747;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LINE_FORE_SCHEMECOLOR_INDEX_BRIGHTNESS" val="-0.25"/>
  <p:tag name="KSO_WM_UNIT_LINE_FORE_SCHEMECOLOR_INDEX" val="14"/>
  <p:tag name="KSO_WM_UNIT_LINE_FILL_TYPE" val="2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2"/>
  <p:tag name="KSO_WM_UNIT_TEXT_FILL_TYPE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  <p:tag name="KSO_WM_UNIT_FILL_FORE_SCHEMECOLOR_INDEX_BRIGHTNESS" val="0"/>
  <p:tag name="KSO_WM_UNIT_FILL_FORE_SCHEMECOLOR_INDEX" val="8"/>
  <p:tag name="KSO_WM_UNIT_FILL_TYPE" val="1"/>
  <p:tag name="KSO_WM_UNIT_LINE_FORE_SCHEMECOLOR_INDEX_BRIGHTNESS" val="0"/>
  <p:tag name="KSO_WM_UNIT_LINE_FORE_SCHEMECOLOR_INDEX" val="5"/>
  <p:tag name="KSO_WM_UNIT_LINE_FILL_TYPE" val="2"/>
  <p:tag name="KSO_WM_UNIT_TEXT_FILL_FORE_SCHEMECOLOR_INDEX_BRIGHTNESS" val="0"/>
  <p:tag name="KSO_WM_UNIT_TEXT_FILL_FORE_SCHEMECOLOR_INDEX" val="2"/>
  <p:tag name="KSO_WM_UNIT_TEXT_FILL_TYPE" val="1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05"/>
  <p:tag name="KSO_WM_UNIT_FILL_FORE_SCHEMECOLOR_INDEX" val="7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25"/>
  <p:tag name="KSO_WM_UNIT_FILL_FORE_SCHEMECOLOR_INDEX" val="14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-0.15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FE5A2C"/>
      </a:accent2>
      <a:accent3>
        <a:srgbClr val="5063F8"/>
      </a:accent3>
      <a:accent4>
        <a:srgbClr val="A6B3CB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dyzmmzwo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主题5">
  <a:themeElements>
    <a:clrScheme name="">
      <a:dk1>
        <a:srgbClr val="2C7AC4"/>
      </a:dk1>
      <a:lt1>
        <a:srgbClr val="2C7AC4"/>
      </a:lt1>
      <a:dk2>
        <a:srgbClr val="FFFFFF"/>
      </a:dk2>
      <a:lt2>
        <a:srgbClr val="FFFFFF"/>
      </a:lt2>
      <a:accent1>
        <a:srgbClr val="2C7AC4"/>
      </a:accent1>
      <a:accent2>
        <a:srgbClr val="2C7AC4"/>
      </a:accent2>
      <a:accent3>
        <a:srgbClr val="2C7AC4"/>
      </a:accent3>
      <a:accent4>
        <a:srgbClr val="2C7AC4"/>
      </a:accent4>
      <a:accent5>
        <a:srgbClr val="2C7AC4"/>
      </a:accent5>
      <a:accent6>
        <a:srgbClr val="2C7AC4"/>
      </a:accent6>
      <a:hlink>
        <a:srgbClr val="2C7AC4"/>
      </a:hlink>
      <a:folHlink>
        <a:srgbClr val="2C7AC4"/>
      </a:folHlink>
    </a:clrScheme>
    <a:fontScheme name="dyzmmzwo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主题5">
  <a:themeElements>
    <a:clrScheme name="">
      <a:dk1>
        <a:srgbClr val="2C7AC4"/>
      </a:dk1>
      <a:lt1>
        <a:srgbClr val="2C7AC4"/>
      </a:lt1>
      <a:dk2>
        <a:srgbClr val="FFFFFF"/>
      </a:dk2>
      <a:lt2>
        <a:srgbClr val="FFFFFF"/>
      </a:lt2>
      <a:accent1>
        <a:srgbClr val="2C7AC4"/>
      </a:accent1>
      <a:accent2>
        <a:srgbClr val="2C7AC4"/>
      </a:accent2>
      <a:accent3>
        <a:srgbClr val="2C7AC4"/>
      </a:accent3>
      <a:accent4>
        <a:srgbClr val="2C7AC4"/>
      </a:accent4>
      <a:accent5>
        <a:srgbClr val="2C7AC4"/>
      </a:accent5>
      <a:accent6>
        <a:srgbClr val="2C7AC4"/>
      </a:accent6>
      <a:hlink>
        <a:srgbClr val="2C7AC4"/>
      </a:hlink>
      <a:folHlink>
        <a:srgbClr val="2C7AC4"/>
      </a:folHlink>
    </a:clrScheme>
    <a:fontScheme name="dyzmmzwo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主题5">
  <a:themeElements>
    <a:clrScheme name="">
      <a:dk1>
        <a:srgbClr val="2C7AC4"/>
      </a:dk1>
      <a:lt1>
        <a:srgbClr val="2C7AC4"/>
      </a:lt1>
      <a:dk2>
        <a:srgbClr val="FFFFFF"/>
      </a:dk2>
      <a:lt2>
        <a:srgbClr val="FFFFFF"/>
      </a:lt2>
      <a:accent1>
        <a:srgbClr val="2C7AC4"/>
      </a:accent1>
      <a:accent2>
        <a:srgbClr val="2C7AC4"/>
      </a:accent2>
      <a:accent3>
        <a:srgbClr val="2C7AC4"/>
      </a:accent3>
      <a:accent4>
        <a:srgbClr val="2C7AC4"/>
      </a:accent4>
      <a:accent5>
        <a:srgbClr val="2C7AC4"/>
      </a:accent5>
      <a:accent6>
        <a:srgbClr val="2C7AC4"/>
      </a:accent6>
      <a:hlink>
        <a:srgbClr val="2C7AC4"/>
      </a:hlink>
      <a:folHlink>
        <a:srgbClr val="2C7AC4"/>
      </a:folHlink>
    </a:clrScheme>
    <a:fontScheme name="dyzmmzwo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主题5">
  <a:themeElements>
    <a:clrScheme name="">
      <a:dk1>
        <a:srgbClr val="2C7AC4"/>
      </a:dk1>
      <a:lt1>
        <a:srgbClr val="2C7AC4"/>
      </a:lt1>
      <a:dk2>
        <a:srgbClr val="FFFFFF"/>
      </a:dk2>
      <a:lt2>
        <a:srgbClr val="FFFFFF"/>
      </a:lt2>
      <a:accent1>
        <a:srgbClr val="2C7AC4"/>
      </a:accent1>
      <a:accent2>
        <a:srgbClr val="2C7AC4"/>
      </a:accent2>
      <a:accent3>
        <a:srgbClr val="2C7AC4"/>
      </a:accent3>
      <a:accent4>
        <a:srgbClr val="2C7AC4"/>
      </a:accent4>
      <a:accent5>
        <a:srgbClr val="2C7AC4"/>
      </a:accent5>
      <a:accent6>
        <a:srgbClr val="2C7AC4"/>
      </a:accent6>
      <a:hlink>
        <a:srgbClr val="2C7AC4"/>
      </a:hlink>
      <a:folHlink>
        <a:srgbClr val="2C7AC4"/>
      </a:folHlink>
    </a:clrScheme>
    <a:fontScheme name="dyzmmzwo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105</TotalTime>
  <Words>1657</Words>
  <Application>Microsoft Office PowerPoint</Application>
  <PresentationFormat>宽屏</PresentationFormat>
  <Paragraphs>371</Paragraphs>
  <Slides>2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40" baseType="lpstr">
      <vt:lpstr>等线</vt:lpstr>
      <vt:lpstr>微软雅黑</vt:lpstr>
      <vt:lpstr>Arial</vt:lpstr>
      <vt:lpstr>Calibri</vt:lpstr>
      <vt:lpstr>主题5</vt:lpstr>
      <vt:lpstr>3_主题5</vt:lpstr>
      <vt:lpstr>4_主题5</vt:lpstr>
      <vt:lpstr>2_主题5</vt:lpstr>
      <vt:lpstr>1_主题5</vt:lpstr>
      <vt:lpstr>Office 主题</vt:lpstr>
      <vt:lpstr>think-cell Slide</vt:lpstr>
      <vt:lpstr>PowerPoint 演示文稿</vt:lpstr>
      <vt:lpstr>PowerPoint 演示文稿</vt:lpstr>
      <vt:lpstr>Research Background and Significance</vt:lpstr>
      <vt:lpstr>Research Background and Significance</vt:lpstr>
      <vt:lpstr>Section Header Her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Mirrich Wang</cp:lastModifiedBy>
  <cp:revision>49</cp:revision>
  <cp:lastPrinted>2020-09-09T16:00:00Z</cp:lastPrinted>
  <dcterms:created xsi:type="dcterms:W3CDTF">2020-09-09T16:00:00Z</dcterms:created>
  <dcterms:modified xsi:type="dcterms:W3CDTF">2024-11-11T05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5c129978-1ed4-4bff-bbf1-0348d1a75716</vt:lpwstr>
  </property>
  <property fmtid="{D5CDD505-2E9C-101B-9397-08002B2CF9AE}" pid="4" name="ContentTypeId">
    <vt:lpwstr>0x010100D1443A8EF62DE444B1FF07917E22EF72</vt:lpwstr>
  </property>
  <property fmtid="{D5CDD505-2E9C-101B-9397-08002B2CF9AE}" pid="5" name="ICV">
    <vt:lpwstr>DF7D25963FC74B64995B75A8F1C06922_13</vt:lpwstr>
  </property>
  <property fmtid="{D5CDD505-2E9C-101B-9397-08002B2CF9AE}" pid="6" name="KSOProductBuildVer">
    <vt:lpwstr>2052-11.1.0.14177</vt:lpwstr>
  </property>
</Properties>
</file>